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notesSlides/notesSlide11.xml" ContentType="application/vnd.openxmlformats-officedocument.presentationml.notesSlide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2"/>
  </p:notesMasterIdLst>
  <p:handoutMasterIdLst>
    <p:handoutMasterId r:id="rId23"/>
  </p:handoutMasterIdLst>
  <p:sldIdLst>
    <p:sldId id="273" r:id="rId2"/>
    <p:sldId id="327" r:id="rId3"/>
    <p:sldId id="335" r:id="rId4"/>
    <p:sldId id="320" r:id="rId5"/>
    <p:sldId id="309" r:id="rId6"/>
    <p:sldId id="313" r:id="rId7"/>
    <p:sldId id="314" r:id="rId8"/>
    <p:sldId id="329" r:id="rId9"/>
    <p:sldId id="316" r:id="rId10"/>
    <p:sldId id="312" r:id="rId11"/>
    <p:sldId id="336" r:id="rId12"/>
    <p:sldId id="338" r:id="rId13"/>
    <p:sldId id="286" r:id="rId14"/>
    <p:sldId id="299" r:id="rId15"/>
    <p:sldId id="337" r:id="rId16"/>
    <p:sldId id="318" r:id="rId17"/>
    <p:sldId id="317" r:id="rId18"/>
    <p:sldId id="292" r:id="rId19"/>
    <p:sldId id="284" r:id="rId20"/>
    <p:sldId id="334" r:id="rId21"/>
  </p:sldIdLst>
  <p:sldSz cx="9144000" cy="6858000" type="screen4x3"/>
  <p:notesSz cx="7099300" cy="10234613"/>
  <p:custDataLst>
    <p:tags r:id="rId2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41" autoAdjust="0"/>
  </p:normalViewPr>
  <p:slideViewPr>
    <p:cSldViewPr snapToGrid="0" showGuides="1">
      <p:cViewPr varScale="1">
        <p:scale>
          <a:sx n="128" d="100"/>
          <a:sy n="128" d="100"/>
        </p:scale>
        <p:origin x="-1140" y="-9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21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.telekom.de/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://www.ofekcloud.com/media/images/1e7b5ca3-8b2e-4e2e-9898-5df978f0218aimage14.jpeg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yourdost.com/blog/2016/02/how-to-become-more-creative.html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www.openstack.org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://cloud-computing-blog.eu/was-ist-jetzt-eigentlich-cloud-computing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_rels/drawing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s://dzone.com/refcardz?filter=popular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www.all-stars.de/blog/wp-content/uploads/2014/04/planung.jpg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cloud.telekom.de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9F7551B-477E-42C4-8E0A-C6339FE1A519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B1118C83-9BC1-4F58-84B4-B860D1BF58F1}" type="presOf" srcId="{D14807FD-294C-4482-91EE-34C09B13669A}" destId="{BCE275B7-D1E9-4183-BABE-507E54E1C931}" srcOrd="0" destOrd="0" presId="urn:microsoft.com/office/officeart/2005/8/layout/chevron1"/>
    <dgm:cxn modelId="{C1729EC9-BB94-40D4-BD67-E9F2B899749B}" type="presOf" srcId="{544A2B27-F62F-4504-85C1-82D7732CCB0A}" destId="{6B5B1B16-1D46-4D7F-892D-7D67FB436452}" srcOrd="0" destOrd="0" presId="urn:microsoft.com/office/officeart/2005/8/layout/chevron1"/>
    <dgm:cxn modelId="{26FB677A-7A43-4466-A8B6-39921D46D212}" type="presOf" srcId="{9C869D94-BD20-4CF6-9CAA-58E706B950F6}" destId="{0AECE453-CE2A-473C-BD27-70D00DA5B95C}" srcOrd="0" destOrd="0" presId="urn:microsoft.com/office/officeart/2005/8/layout/chevron1"/>
    <dgm:cxn modelId="{0341F720-D9ED-482A-AC9D-35D332622C1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B93DCDAD-319C-4F82-B91B-705807C3E501}" type="presParOf" srcId="{0AECE453-CE2A-473C-BD27-70D00DA5B95C}" destId="{135DB1F4-89C2-4733-9521-42FD5CECF10C}" srcOrd="0" destOrd="0" presId="urn:microsoft.com/office/officeart/2005/8/layout/chevron1"/>
    <dgm:cxn modelId="{03B783E6-195F-4537-A7C2-9E07E97DC43C}" type="presParOf" srcId="{0AECE453-CE2A-473C-BD27-70D00DA5B95C}" destId="{E1C76734-9ABE-473C-AD4C-C4BF49F91E97}" srcOrd="1" destOrd="0" presId="urn:microsoft.com/office/officeart/2005/8/layout/chevron1"/>
    <dgm:cxn modelId="{CAE5EAF1-F64E-4A33-8F5F-5A7347021F55}" type="presParOf" srcId="{0AECE453-CE2A-473C-BD27-70D00DA5B95C}" destId="{6BF66C9A-92D4-481D-A538-FD1A4E3DC0D5}" srcOrd="2" destOrd="0" presId="urn:microsoft.com/office/officeart/2005/8/layout/chevron1"/>
    <dgm:cxn modelId="{02980022-48FC-44A8-9244-24B918D08596}" type="presParOf" srcId="{0AECE453-CE2A-473C-BD27-70D00DA5B95C}" destId="{691CB221-7DD5-49BE-AC21-301798066F30}" srcOrd="3" destOrd="0" presId="urn:microsoft.com/office/officeart/2005/8/layout/chevron1"/>
    <dgm:cxn modelId="{D26A93FF-42C9-43B9-9A7C-B39D0E4FE9C9}" type="presParOf" srcId="{0AECE453-CE2A-473C-BD27-70D00DA5B95C}" destId="{6B5B1B16-1D46-4D7F-892D-7D67FB436452}" srcOrd="4" destOrd="0" presId="urn:microsoft.com/office/officeart/2005/8/layout/chevron1"/>
    <dgm:cxn modelId="{8F039FFE-C25C-4FFE-BEA2-05CBE0722B44}" type="presParOf" srcId="{0AECE453-CE2A-473C-BD27-70D00DA5B95C}" destId="{E20E6850-4B52-4A6E-A4B6-B5AE207EA15E}" srcOrd="5" destOrd="0" presId="urn:microsoft.com/office/officeart/2005/8/layout/chevron1"/>
    <dgm:cxn modelId="{B0CD5601-18FB-4566-B863-33677E7F09E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3d6" qsCatId="3D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/>
      <dgm:t>
        <a:bodyPr/>
        <a:lstStyle/>
        <a:p>
          <a:r>
            <a:rPr lang="de-DE" dirty="0" smtClean="0"/>
            <a:t>Get An Overview</a:t>
          </a:r>
          <a:endParaRPr lang="de-DE" dirty="0"/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/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/>
        </a:p>
      </dgm:t>
    </dgm:pt>
    <dgm:pt modelId="{82452DCF-232A-407F-8B9F-239A96594E98}">
      <dgm:prSet phldrT="[Text]"/>
      <dgm:spPr/>
      <dgm:t>
        <a:bodyPr/>
        <a:lstStyle/>
        <a:p>
          <a:r>
            <a:rPr lang="de-DE" dirty="0" smtClean="0"/>
            <a:t>DevStack As Testplatform</a:t>
          </a:r>
          <a:endParaRPr lang="de-DE" dirty="0"/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/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/>
        </a:p>
      </dgm:t>
    </dgm:pt>
    <dgm:pt modelId="{38DB7276-0691-424A-BAAA-3B31662FB8AA}">
      <dgm:prSet phldrT="[Text]"/>
      <dgm:spPr/>
      <dgm:t>
        <a:bodyPr/>
        <a:lstStyle/>
        <a:p>
          <a:r>
            <a:rPr lang="de-DE" dirty="0" smtClean="0"/>
            <a:t>Setting up DevStack</a:t>
          </a:r>
          <a:endParaRPr lang="de-DE" dirty="0"/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/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/>
        </a:p>
      </dgm:t>
    </dgm:pt>
    <dgm:pt modelId="{57BA47CA-D1C6-46EF-B73F-4C057557D661}">
      <dgm:prSet phldrT="[Text]"/>
      <dgm:spPr/>
      <dgm:t>
        <a:bodyPr/>
        <a:lstStyle/>
        <a:p>
          <a:r>
            <a:rPr lang="de-DE" dirty="0" smtClean="0"/>
            <a:t>Install Wordpress</a:t>
          </a:r>
          <a:endParaRPr lang="de-DE" dirty="0"/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/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/>
        </a:p>
      </dgm:t>
    </dgm:pt>
    <dgm:pt modelId="{6E93FA4F-B399-4CE1-B9FC-78319FABED40}">
      <dgm:prSet phldrT="[Text]"/>
      <dgm:spPr/>
      <dgm:t>
        <a:bodyPr/>
        <a:lstStyle/>
        <a:p>
          <a:r>
            <a:rPr lang="de-DE" dirty="0" smtClean="0"/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/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/>
        </a:p>
      </dgm:t>
    </dgm:pt>
    <dgm:pt modelId="{04F6032E-481B-47A2-8548-5BFEFDA0276D}">
      <dgm:prSet phldrT="[Text]"/>
      <dgm:spPr/>
      <dgm:t>
        <a:bodyPr/>
        <a:lstStyle/>
        <a:p>
          <a:r>
            <a:rPr lang="de-DE" dirty="0" smtClean="0"/>
            <a:t>Automatic Rollout</a:t>
          </a:r>
          <a:endParaRPr lang="de-DE" dirty="0"/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/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/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2EFBFE1-FF89-4DBF-999B-72AD97CE317C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738BB98-7698-453D-9484-5D8EA6C07D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9516274-3574-469E-A79C-29E1C2AF37BB}" type="presOf" srcId="{EB61DA86-9B86-4759-822E-DA32F7AA073E}" destId="{135DB1F4-89C2-4733-9521-42FD5CECF10C}" srcOrd="0" destOrd="0" presId="urn:microsoft.com/office/officeart/2005/8/layout/chevron1"/>
    <dgm:cxn modelId="{DDA45B38-ED9D-47C3-8F6E-73F1197E2477}" type="presOf" srcId="{544A2B27-F62F-4504-85C1-82D7732CCB0A}" destId="{6B5B1B16-1D46-4D7F-892D-7D67FB436452}" srcOrd="0" destOrd="0" presId="urn:microsoft.com/office/officeart/2005/8/layout/chevron1"/>
    <dgm:cxn modelId="{951BA2A8-8269-439A-8199-2D3C6C7B2E4A}" type="presOf" srcId="{9C869D94-BD20-4CF6-9CAA-58E706B950F6}" destId="{0AECE453-CE2A-473C-BD27-70D00DA5B95C}" srcOrd="0" destOrd="0" presId="urn:microsoft.com/office/officeart/2005/8/layout/chevron1"/>
    <dgm:cxn modelId="{8014F831-4174-49ED-9A4C-31D37D12CAFA}" type="presParOf" srcId="{0AECE453-CE2A-473C-BD27-70D00DA5B95C}" destId="{135DB1F4-89C2-4733-9521-42FD5CECF10C}" srcOrd="0" destOrd="0" presId="urn:microsoft.com/office/officeart/2005/8/layout/chevron1"/>
    <dgm:cxn modelId="{FC5C2269-328F-4E54-BBE1-6A4D91E27928}" type="presParOf" srcId="{0AECE453-CE2A-473C-BD27-70D00DA5B95C}" destId="{E1C76734-9ABE-473C-AD4C-C4BF49F91E97}" srcOrd="1" destOrd="0" presId="urn:microsoft.com/office/officeart/2005/8/layout/chevron1"/>
    <dgm:cxn modelId="{8A50F24F-1628-4ACD-864A-604F7DE6BC7C}" type="presParOf" srcId="{0AECE453-CE2A-473C-BD27-70D00DA5B95C}" destId="{6BF66C9A-92D4-481D-A538-FD1A4E3DC0D5}" srcOrd="2" destOrd="0" presId="urn:microsoft.com/office/officeart/2005/8/layout/chevron1"/>
    <dgm:cxn modelId="{ECD2CC03-8145-4713-AD4D-C6710F626DAE}" type="presParOf" srcId="{0AECE453-CE2A-473C-BD27-70D00DA5B95C}" destId="{691CB221-7DD5-49BE-AC21-301798066F30}" srcOrd="3" destOrd="0" presId="urn:microsoft.com/office/officeart/2005/8/layout/chevron1"/>
    <dgm:cxn modelId="{3C355F9B-41E8-4059-9BBA-F5E62939C41D}" type="presParOf" srcId="{0AECE453-CE2A-473C-BD27-70D00DA5B95C}" destId="{6B5B1B16-1D46-4D7F-892D-7D67FB436452}" srcOrd="4" destOrd="0" presId="urn:microsoft.com/office/officeart/2005/8/layout/chevron1"/>
    <dgm:cxn modelId="{9D17D0D9-CD57-4BB0-9619-4567A7721690}" type="presParOf" srcId="{0AECE453-CE2A-473C-BD27-70D00DA5B95C}" destId="{E20E6850-4B52-4A6E-A4B6-B5AE207EA15E}" srcOrd="5" destOrd="0" presId="urn:microsoft.com/office/officeart/2005/8/layout/chevron1"/>
    <dgm:cxn modelId="{66B2F48F-C58E-4FF2-AF92-3863351F70B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1F3532B-5AE0-44A2-B657-1D0325F9F00D}" type="doc">
      <dgm:prSet loTypeId="urn:microsoft.com/office/officeart/2005/8/layout/matrix1" loCatId="matrix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287C4DAB-A2BA-4BC6-80B5-646ADE7A52E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dirty="0">
            <a:solidFill>
              <a:schemeClr val="bg1"/>
            </a:solidFill>
            <a:latin typeface="TeleGrotesk Headline" pitchFamily="2" charset="0"/>
          </a:endParaRPr>
        </a:p>
      </dgm:t>
    </dgm:pt>
    <dgm:pt modelId="{3B16B8D2-3615-4CEE-BB11-19C2D53FDF9A}" type="parTrans" cxnId="{49291616-6D71-4C23-B077-95CD08929485}">
      <dgm:prSet/>
      <dgm:spPr/>
      <dgm:t>
        <a:bodyPr/>
        <a:lstStyle/>
        <a:p>
          <a:endParaRPr lang="de-DE"/>
        </a:p>
      </dgm:t>
    </dgm:pt>
    <dgm:pt modelId="{43C3474A-DF34-4F77-865D-6F555148BF3D}" type="sibTrans" cxnId="{49291616-6D71-4C23-B077-95CD08929485}">
      <dgm:prSet/>
      <dgm:spPr/>
      <dgm:t>
        <a:bodyPr/>
        <a:lstStyle/>
        <a:p>
          <a:endParaRPr lang="de-DE"/>
        </a:p>
      </dgm:t>
    </dgm:pt>
    <dgm:pt modelId="{2728D8FB-9ED9-4560-AD2C-7B7375FF5E7F}">
      <dgm:prSet phldrT="[Text]" custT="1"/>
      <dgm:spPr/>
      <dgm:t>
        <a:bodyPr/>
        <a:lstStyle/>
        <a:p>
          <a:pPr algn="ctr"/>
          <a:endParaRPr lang="de-DE" sz="2400" dirty="0">
            <a:latin typeface="Tele-GroteskHal" pitchFamily="2" charset="0"/>
          </a:endParaRPr>
        </a:p>
      </dgm:t>
    </dgm:pt>
    <dgm:pt modelId="{2CBA9A63-0BC1-4EAE-9040-712EA43EC4C4}" type="parTrans" cxnId="{A5FF04EC-DB5A-4DCE-9844-C6B52C362506}">
      <dgm:prSet/>
      <dgm:spPr/>
      <dgm:t>
        <a:bodyPr/>
        <a:lstStyle/>
        <a:p>
          <a:endParaRPr lang="de-DE"/>
        </a:p>
      </dgm:t>
    </dgm:pt>
    <dgm:pt modelId="{D88648A4-CDB9-44D1-9002-46C9C9ABD397}" type="sibTrans" cxnId="{A5FF04EC-DB5A-4DCE-9844-C6B52C362506}">
      <dgm:prSet/>
      <dgm:spPr/>
      <dgm:t>
        <a:bodyPr/>
        <a:lstStyle/>
        <a:p>
          <a:endParaRPr lang="de-DE"/>
        </a:p>
      </dgm:t>
    </dgm:pt>
    <dgm:pt modelId="{8FA7551D-CB7B-4C0F-8265-597776008C26}">
      <dgm:prSet phldrT="[Text]" custT="1"/>
      <dgm:spPr/>
      <dgm:t>
        <a:bodyPr anchor="t"/>
        <a:lstStyle/>
        <a:p>
          <a:endParaRPr lang="de-DE" sz="2400" dirty="0">
            <a:latin typeface="Tele-GroteskHal" pitchFamily="2" charset="0"/>
            <a:cs typeface="Arial" pitchFamily="34" charset="0"/>
          </a:endParaRPr>
        </a:p>
      </dgm:t>
    </dgm:pt>
    <dgm:pt modelId="{87459B9D-25FF-4F90-84B2-F560DC6B32AF}" type="parTrans" cxnId="{48EC6811-26B5-49D3-9B96-CC511257B3BF}">
      <dgm:prSet/>
      <dgm:spPr/>
      <dgm:t>
        <a:bodyPr/>
        <a:lstStyle/>
        <a:p>
          <a:endParaRPr lang="de-DE"/>
        </a:p>
      </dgm:t>
    </dgm:pt>
    <dgm:pt modelId="{DCC0EC9F-AF07-4D7A-8ABE-455418F6CA04}" type="sibTrans" cxnId="{48EC6811-26B5-49D3-9B96-CC511257B3BF}">
      <dgm:prSet/>
      <dgm:spPr/>
      <dgm:t>
        <a:bodyPr/>
        <a:lstStyle/>
        <a:p>
          <a:endParaRPr lang="de-DE"/>
        </a:p>
      </dgm:t>
    </dgm:pt>
    <dgm:pt modelId="{065CC60E-55D9-412D-B25A-79568CD3795A}">
      <dgm:prSet phldrT="[Text]"/>
      <dgm:spPr/>
      <dgm:t>
        <a:bodyPr/>
        <a:lstStyle/>
        <a:p>
          <a:endParaRPr lang="de-DE" dirty="0"/>
        </a:p>
      </dgm:t>
    </dgm:pt>
    <dgm:pt modelId="{ABE07E3A-8467-4DCE-A1A3-6FAD1104DA5C}" type="parTrans" cxnId="{14D37B3D-CB0F-4CD4-8322-B8A0AD726CA6}">
      <dgm:prSet/>
      <dgm:spPr/>
      <dgm:t>
        <a:bodyPr/>
        <a:lstStyle/>
        <a:p>
          <a:endParaRPr lang="de-DE"/>
        </a:p>
      </dgm:t>
    </dgm:pt>
    <dgm:pt modelId="{2981FF97-4B94-4904-B2A6-CDC34D757177}" type="sibTrans" cxnId="{14D37B3D-CB0F-4CD4-8322-B8A0AD726CA6}">
      <dgm:prSet/>
      <dgm:spPr/>
      <dgm:t>
        <a:bodyPr/>
        <a:lstStyle/>
        <a:p>
          <a:endParaRPr lang="de-DE"/>
        </a:p>
      </dgm:t>
    </dgm:pt>
    <dgm:pt modelId="{C31BF9A7-85A5-4FD5-8130-58D69C2EE93C}">
      <dgm:prSet phldrT="[Text]"/>
      <dgm:spPr/>
      <dgm:t>
        <a:bodyPr/>
        <a:lstStyle/>
        <a:p>
          <a:endParaRPr lang="de-DE" dirty="0"/>
        </a:p>
      </dgm:t>
    </dgm:pt>
    <dgm:pt modelId="{F772A415-A0B3-4411-83E3-6DEB1A4C425A}" type="sibTrans" cxnId="{FC65AB4F-060F-4643-AE19-07F66E7DC3E8}">
      <dgm:prSet/>
      <dgm:spPr/>
      <dgm:t>
        <a:bodyPr/>
        <a:lstStyle/>
        <a:p>
          <a:endParaRPr lang="de-DE"/>
        </a:p>
      </dgm:t>
    </dgm:pt>
    <dgm:pt modelId="{0AD58E4D-EFC5-481A-B19F-363E6C249BE9}" type="parTrans" cxnId="{FC65AB4F-060F-4643-AE19-07F66E7DC3E8}">
      <dgm:prSet/>
      <dgm:spPr/>
      <dgm:t>
        <a:bodyPr/>
        <a:lstStyle/>
        <a:p>
          <a:endParaRPr lang="de-DE"/>
        </a:p>
      </dgm:t>
    </dgm:pt>
    <dgm:pt modelId="{2AEE65C6-B1F6-410A-8375-089A29026A58}" type="pres">
      <dgm:prSet presAssocID="{31F3532B-5AE0-44A2-B657-1D0325F9F00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AB2E850-54BB-470C-AFEA-EE25890B4FD4}" type="pres">
      <dgm:prSet presAssocID="{31F3532B-5AE0-44A2-B657-1D0325F9F00D}" presName="matrix" presStyleCnt="0"/>
      <dgm:spPr/>
    </dgm:pt>
    <dgm:pt modelId="{F94570A6-624E-4647-99B4-6200FB81373D}" type="pres">
      <dgm:prSet presAssocID="{31F3532B-5AE0-44A2-B657-1D0325F9F00D}" presName="tile1" presStyleLbl="node1" presStyleIdx="0" presStyleCnt="4"/>
      <dgm:spPr/>
      <dgm:t>
        <a:bodyPr/>
        <a:lstStyle/>
        <a:p>
          <a:endParaRPr lang="de-DE"/>
        </a:p>
      </dgm:t>
    </dgm:pt>
    <dgm:pt modelId="{22ABA2EF-F15B-40CB-95A1-19D1C1629F1B}" type="pres">
      <dgm:prSet presAssocID="{31F3532B-5AE0-44A2-B657-1D0325F9F00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366065D-0F5C-4109-8B1D-4C58D64EB1DD}" type="pres">
      <dgm:prSet presAssocID="{31F3532B-5AE0-44A2-B657-1D0325F9F00D}" presName="tile2" presStyleLbl="node1" presStyleIdx="1" presStyleCnt="4"/>
      <dgm:spPr/>
      <dgm:t>
        <a:bodyPr/>
        <a:lstStyle/>
        <a:p>
          <a:endParaRPr lang="de-DE"/>
        </a:p>
      </dgm:t>
    </dgm:pt>
    <dgm:pt modelId="{CCCC369C-43E3-4805-86FF-1A314DC8A3DB}" type="pres">
      <dgm:prSet presAssocID="{31F3532B-5AE0-44A2-B657-1D0325F9F00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2A83927-BD7C-46FF-8527-D4B59C3E881F}" type="pres">
      <dgm:prSet presAssocID="{31F3532B-5AE0-44A2-B657-1D0325F9F00D}" presName="tile3" presStyleLbl="node1" presStyleIdx="2" presStyleCnt="4"/>
      <dgm:spPr/>
      <dgm:t>
        <a:bodyPr/>
        <a:lstStyle/>
        <a:p>
          <a:endParaRPr lang="de-DE"/>
        </a:p>
      </dgm:t>
    </dgm:pt>
    <dgm:pt modelId="{D141D63A-5726-441B-824D-8DF51B479D6E}" type="pres">
      <dgm:prSet presAssocID="{31F3532B-5AE0-44A2-B657-1D0325F9F00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81E340-BC23-49F2-8282-021B779DAD63}" type="pres">
      <dgm:prSet presAssocID="{31F3532B-5AE0-44A2-B657-1D0325F9F00D}" presName="tile4" presStyleLbl="node1" presStyleIdx="3" presStyleCnt="4"/>
      <dgm:spPr/>
      <dgm:t>
        <a:bodyPr/>
        <a:lstStyle/>
        <a:p>
          <a:endParaRPr lang="de-DE"/>
        </a:p>
      </dgm:t>
    </dgm:pt>
    <dgm:pt modelId="{9C444DD6-B257-4A95-94EC-78065B7AB202}" type="pres">
      <dgm:prSet presAssocID="{31F3532B-5AE0-44A2-B657-1D0325F9F00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E1233F-6405-4070-9D0C-9D6D06009224}" type="pres">
      <dgm:prSet presAssocID="{31F3532B-5AE0-44A2-B657-1D0325F9F00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FC65AB4F-060F-4643-AE19-07F66E7DC3E8}" srcId="{287C4DAB-A2BA-4BC6-80B5-646ADE7A52E7}" destId="{C31BF9A7-85A5-4FD5-8130-58D69C2EE93C}" srcOrd="0" destOrd="0" parTransId="{0AD58E4D-EFC5-481A-B19F-363E6C249BE9}" sibTransId="{F772A415-A0B3-4411-83E3-6DEB1A4C425A}"/>
    <dgm:cxn modelId="{ABF8C412-073F-4CBA-8FE0-BB012BED7D4E}" type="presOf" srcId="{8FA7551D-CB7B-4C0F-8265-597776008C26}" destId="{D141D63A-5726-441B-824D-8DF51B479D6E}" srcOrd="1" destOrd="0" presId="urn:microsoft.com/office/officeart/2005/8/layout/matrix1"/>
    <dgm:cxn modelId="{48EC6811-26B5-49D3-9B96-CC511257B3BF}" srcId="{287C4DAB-A2BA-4BC6-80B5-646ADE7A52E7}" destId="{8FA7551D-CB7B-4C0F-8265-597776008C26}" srcOrd="2" destOrd="0" parTransId="{87459B9D-25FF-4F90-84B2-F560DC6B32AF}" sibTransId="{DCC0EC9F-AF07-4D7A-8ABE-455418F6CA04}"/>
    <dgm:cxn modelId="{A5FF04EC-DB5A-4DCE-9844-C6B52C362506}" srcId="{287C4DAB-A2BA-4BC6-80B5-646ADE7A52E7}" destId="{2728D8FB-9ED9-4560-AD2C-7B7375FF5E7F}" srcOrd="1" destOrd="0" parTransId="{2CBA9A63-0BC1-4EAE-9040-712EA43EC4C4}" sibTransId="{D88648A4-CDB9-44D1-9002-46C9C9ABD397}"/>
    <dgm:cxn modelId="{BCC96067-186D-4A00-AF93-7F1E9AAA4592}" type="presOf" srcId="{2728D8FB-9ED9-4560-AD2C-7B7375FF5E7F}" destId="{CCCC369C-43E3-4805-86FF-1A314DC8A3DB}" srcOrd="1" destOrd="0" presId="urn:microsoft.com/office/officeart/2005/8/layout/matrix1"/>
    <dgm:cxn modelId="{7DEF4FE2-042C-4411-A4A5-63122E59A19B}" type="presOf" srcId="{287C4DAB-A2BA-4BC6-80B5-646ADE7A52E7}" destId="{A1E1233F-6405-4070-9D0C-9D6D06009224}" srcOrd="0" destOrd="0" presId="urn:microsoft.com/office/officeart/2005/8/layout/matrix1"/>
    <dgm:cxn modelId="{7788A17E-7E9A-4226-97B7-2055A3861F44}" type="presOf" srcId="{065CC60E-55D9-412D-B25A-79568CD3795A}" destId="{2681E340-BC23-49F2-8282-021B779DAD63}" srcOrd="0" destOrd="0" presId="urn:microsoft.com/office/officeart/2005/8/layout/matrix1"/>
    <dgm:cxn modelId="{DA3BD01F-4923-4650-A33E-819C95007F87}" type="presOf" srcId="{8FA7551D-CB7B-4C0F-8265-597776008C26}" destId="{62A83927-BD7C-46FF-8527-D4B59C3E881F}" srcOrd="0" destOrd="0" presId="urn:microsoft.com/office/officeart/2005/8/layout/matrix1"/>
    <dgm:cxn modelId="{86605553-A3A4-4A77-9C03-BE7A9A482130}" type="presOf" srcId="{065CC60E-55D9-412D-B25A-79568CD3795A}" destId="{9C444DD6-B257-4A95-94EC-78065B7AB202}" srcOrd="1" destOrd="0" presId="urn:microsoft.com/office/officeart/2005/8/layout/matrix1"/>
    <dgm:cxn modelId="{0018A8EC-ECE8-4BEE-983A-3B43D00F78FF}" type="presOf" srcId="{C31BF9A7-85A5-4FD5-8130-58D69C2EE93C}" destId="{22ABA2EF-F15B-40CB-95A1-19D1C1629F1B}" srcOrd="1" destOrd="0" presId="urn:microsoft.com/office/officeart/2005/8/layout/matrix1"/>
    <dgm:cxn modelId="{49291616-6D71-4C23-B077-95CD08929485}" srcId="{31F3532B-5AE0-44A2-B657-1D0325F9F00D}" destId="{287C4DAB-A2BA-4BC6-80B5-646ADE7A52E7}" srcOrd="0" destOrd="0" parTransId="{3B16B8D2-3615-4CEE-BB11-19C2D53FDF9A}" sibTransId="{43C3474A-DF34-4F77-865D-6F555148BF3D}"/>
    <dgm:cxn modelId="{FCFE3C23-39E7-4892-843D-A55BC25F5B67}" type="presOf" srcId="{C31BF9A7-85A5-4FD5-8130-58D69C2EE93C}" destId="{F94570A6-624E-4647-99B4-6200FB81373D}" srcOrd="0" destOrd="0" presId="urn:microsoft.com/office/officeart/2005/8/layout/matrix1"/>
    <dgm:cxn modelId="{E1591740-2492-4D3E-BA27-B281E1725B96}" type="presOf" srcId="{2728D8FB-9ED9-4560-AD2C-7B7375FF5E7F}" destId="{6366065D-0F5C-4109-8B1D-4C58D64EB1DD}" srcOrd="0" destOrd="0" presId="urn:microsoft.com/office/officeart/2005/8/layout/matrix1"/>
    <dgm:cxn modelId="{14D37B3D-CB0F-4CD4-8322-B8A0AD726CA6}" srcId="{287C4DAB-A2BA-4BC6-80B5-646ADE7A52E7}" destId="{065CC60E-55D9-412D-B25A-79568CD3795A}" srcOrd="3" destOrd="0" parTransId="{ABE07E3A-8467-4DCE-A1A3-6FAD1104DA5C}" sibTransId="{2981FF97-4B94-4904-B2A6-CDC34D757177}"/>
    <dgm:cxn modelId="{80B1B582-6904-47F5-86E6-94AE33AA106F}" type="presOf" srcId="{31F3532B-5AE0-44A2-B657-1D0325F9F00D}" destId="{2AEE65C6-B1F6-410A-8375-089A29026A58}" srcOrd="0" destOrd="0" presId="urn:microsoft.com/office/officeart/2005/8/layout/matrix1"/>
    <dgm:cxn modelId="{90629176-EDA9-459E-A5A9-FAFFC685ABA8}" type="presParOf" srcId="{2AEE65C6-B1F6-410A-8375-089A29026A58}" destId="{2AB2E850-54BB-470C-AFEA-EE25890B4FD4}" srcOrd="0" destOrd="0" presId="urn:microsoft.com/office/officeart/2005/8/layout/matrix1"/>
    <dgm:cxn modelId="{CBAE15FF-16E4-472B-8A47-68E50BC5FB52}" type="presParOf" srcId="{2AB2E850-54BB-470C-AFEA-EE25890B4FD4}" destId="{F94570A6-624E-4647-99B4-6200FB81373D}" srcOrd="0" destOrd="0" presId="urn:microsoft.com/office/officeart/2005/8/layout/matrix1"/>
    <dgm:cxn modelId="{C59F1622-CDF2-4764-8C32-03B649EB2D87}" type="presParOf" srcId="{2AB2E850-54BB-470C-AFEA-EE25890B4FD4}" destId="{22ABA2EF-F15B-40CB-95A1-19D1C1629F1B}" srcOrd="1" destOrd="0" presId="urn:microsoft.com/office/officeart/2005/8/layout/matrix1"/>
    <dgm:cxn modelId="{D66CD303-BE12-4ADA-8756-34DC0D3CC41E}" type="presParOf" srcId="{2AB2E850-54BB-470C-AFEA-EE25890B4FD4}" destId="{6366065D-0F5C-4109-8B1D-4C58D64EB1DD}" srcOrd="2" destOrd="0" presId="urn:microsoft.com/office/officeart/2005/8/layout/matrix1"/>
    <dgm:cxn modelId="{21751911-A510-490E-A1ED-6314E24C3FF6}" type="presParOf" srcId="{2AB2E850-54BB-470C-AFEA-EE25890B4FD4}" destId="{CCCC369C-43E3-4805-86FF-1A314DC8A3DB}" srcOrd="3" destOrd="0" presId="urn:microsoft.com/office/officeart/2005/8/layout/matrix1"/>
    <dgm:cxn modelId="{C6F2017F-0575-41BD-8284-A0C2BEC8D371}" type="presParOf" srcId="{2AB2E850-54BB-470C-AFEA-EE25890B4FD4}" destId="{62A83927-BD7C-46FF-8527-D4B59C3E881F}" srcOrd="4" destOrd="0" presId="urn:microsoft.com/office/officeart/2005/8/layout/matrix1"/>
    <dgm:cxn modelId="{7195DBCA-7C0F-47A1-970D-CD8227433276}" type="presParOf" srcId="{2AB2E850-54BB-470C-AFEA-EE25890B4FD4}" destId="{D141D63A-5726-441B-824D-8DF51B479D6E}" srcOrd="5" destOrd="0" presId="urn:microsoft.com/office/officeart/2005/8/layout/matrix1"/>
    <dgm:cxn modelId="{6C8A32F3-E0E1-4C15-BBCC-2EE37BCEB256}" type="presParOf" srcId="{2AB2E850-54BB-470C-AFEA-EE25890B4FD4}" destId="{2681E340-BC23-49F2-8282-021B779DAD63}" srcOrd="6" destOrd="0" presId="urn:microsoft.com/office/officeart/2005/8/layout/matrix1"/>
    <dgm:cxn modelId="{CD35ED29-2128-445E-B153-A3F54E97A529}" type="presParOf" srcId="{2AB2E850-54BB-470C-AFEA-EE25890B4FD4}" destId="{9C444DD6-B257-4A95-94EC-78065B7AB202}" srcOrd="7" destOrd="0" presId="urn:microsoft.com/office/officeart/2005/8/layout/matrix1"/>
    <dgm:cxn modelId="{96CFAA87-EFD5-419D-BE41-2F75324FEEEA}" type="presParOf" srcId="{2AEE65C6-B1F6-410A-8375-089A29026A58}" destId="{A1E1233F-6405-4070-9D0C-9D6D06009224}" srcOrd="1" destOrd="0" presId="urn:microsoft.com/office/officeart/2005/8/layout/matrix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987AF0-C836-4CBE-87A4-0A4BF7396047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D6C6526-86ED-4F3D-AF59-C1621D52FCC4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FD62C52-7E5B-4F38-B628-213C03D76793}" type="presOf" srcId="{D14807FD-294C-4482-91EE-34C09B13669A}" destId="{BCE275B7-D1E9-4183-BABE-507E54E1C931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A60A399-0598-430B-AA17-1881BC9F084A}" type="presOf" srcId="{EB61DA86-9B86-4759-822E-DA32F7AA073E}" destId="{135DB1F4-89C2-4733-9521-42FD5CECF10C}" srcOrd="0" destOrd="0" presId="urn:microsoft.com/office/officeart/2005/8/layout/chevron1"/>
    <dgm:cxn modelId="{402A77C8-80AB-4AF6-B788-DA3E3A14C23C}" type="presOf" srcId="{9C869D94-BD20-4CF6-9CAA-58E706B950F6}" destId="{0AECE453-CE2A-473C-BD27-70D00DA5B95C}" srcOrd="0" destOrd="0" presId="urn:microsoft.com/office/officeart/2005/8/layout/chevron1"/>
    <dgm:cxn modelId="{A5E59EF1-77AF-4EDF-AE45-CDC5390D7700}" type="presParOf" srcId="{0AECE453-CE2A-473C-BD27-70D00DA5B95C}" destId="{135DB1F4-89C2-4733-9521-42FD5CECF10C}" srcOrd="0" destOrd="0" presId="urn:microsoft.com/office/officeart/2005/8/layout/chevron1"/>
    <dgm:cxn modelId="{F2C58017-9C24-40EA-A6BA-6A9E0467E6ED}" type="presParOf" srcId="{0AECE453-CE2A-473C-BD27-70D00DA5B95C}" destId="{E1C76734-9ABE-473C-AD4C-C4BF49F91E97}" srcOrd="1" destOrd="0" presId="urn:microsoft.com/office/officeart/2005/8/layout/chevron1"/>
    <dgm:cxn modelId="{77BE2C80-850B-472A-9081-BFB1F4F486EF}" type="presParOf" srcId="{0AECE453-CE2A-473C-BD27-70D00DA5B95C}" destId="{6BF66C9A-92D4-481D-A538-FD1A4E3DC0D5}" srcOrd="2" destOrd="0" presId="urn:microsoft.com/office/officeart/2005/8/layout/chevron1"/>
    <dgm:cxn modelId="{5B3A5E1E-EEF9-4754-B6F5-D97776897BEC}" type="presParOf" srcId="{0AECE453-CE2A-473C-BD27-70D00DA5B95C}" destId="{691CB221-7DD5-49BE-AC21-301798066F30}" srcOrd="3" destOrd="0" presId="urn:microsoft.com/office/officeart/2005/8/layout/chevron1"/>
    <dgm:cxn modelId="{E609A3A6-D517-4A91-A3A8-3C007E912313}" type="presParOf" srcId="{0AECE453-CE2A-473C-BD27-70D00DA5B95C}" destId="{6B5B1B16-1D46-4D7F-892D-7D67FB436452}" srcOrd="4" destOrd="0" presId="urn:microsoft.com/office/officeart/2005/8/layout/chevron1"/>
    <dgm:cxn modelId="{088F0BAD-4397-40A6-8889-1E497B1421CA}" type="presParOf" srcId="{0AECE453-CE2A-473C-BD27-70D00DA5B95C}" destId="{E20E6850-4B52-4A6E-A4B6-B5AE207EA15E}" srcOrd="5" destOrd="0" presId="urn:microsoft.com/office/officeart/2005/8/layout/chevron1"/>
    <dgm:cxn modelId="{0D06918C-C94E-429C-B39B-53A07D5D0524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Introduction</a:t>
          </a:r>
          <a:endParaRPr lang="de-DE" sz="2000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/>
      <dgm:spPr/>
      <dgm:t>
        <a:bodyPr/>
        <a:lstStyle/>
        <a:p>
          <a:r>
            <a:rPr lang="de-DE" dirty="0" smtClean="0"/>
            <a:t>DevOps goals</a:t>
          </a:r>
          <a:endParaRPr lang="de-DE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OpenStack</a:t>
          </a:r>
          <a:endParaRPr lang="de-DE" sz="2000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/>
      <dgm:spPr/>
      <dgm:t>
        <a:bodyPr/>
        <a:lstStyle/>
        <a:p>
          <a:r>
            <a:rPr lang="de-DE" dirty="0" smtClean="0"/>
            <a:t>Features</a:t>
          </a:r>
          <a:endParaRPr lang="de-DE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6FA0FFD3-1DA2-47F5-835E-CFE50E6B57E2}">
      <dgm:prSet phldrT="[Text]"/>
      <dgm:spPr/>
      <dgm:t>
        <a:bodyPr/>
        <a:lstStyle/>
        <a:p>
          <a:r>
            <a:rPr lang="de-DE" dirty="0" smtClean="0"/>
            <a:t>Software Overview</a:t>
          </a:r>
          <a:endParaRPr lang="de-DE" dirty="0"/>
        </a:p>
      </dgm:t>
    </dgm:pt>
    <dgm:pt modelId="{08B605ED-31E4-4D35-848F-06A7A13F2FE3}" type="parTrans" cxnId="{8E69BEDD-2B99-4F6B-980F-CAF4A4F4FA52}">
      <dgm:prSet/>
      <dgm:spPr/>
      <dgm:t>
        <a:bodyPr/>
        <a:lstStyle/>
        <a:p>
          <a:endParaRPr lang="de-DE"/>
        </a:p>
      </dgm:t>
    </dgm:pt>
    <dgm:pt modelId="{155282D7-E93D-43CC-975B-8DD637333FD2}" type="sibTrans" cxnId="{8E69BEDD-2B99-4F6B-980F-CAF4A4F4FA52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1800" dirty="0" smtClean="0"/>
            <a:t>TelekomCLOUD</a:t>
          </a:r>
          <a:endParaRPr lang="de-DE" sz="1800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Deployment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E4F4CE58-4869-4FF9-AE3C-64C2A7BAC8A2}">
      <dgm:prSet phldrT="[Text]"/>
      <dgm:spPr/>
      <dgm:t>
        <a:bodyPr/>
        <a:lstStyle/>
        <a:p>
          <a:r>
            <a:rPr lang="de-DE" dirty="0" smtClean="0"/>
            <a:t>Command lines</a:t>
          </a:r>
          <a:endParaRPr lang="de-DE" dirty="0"/>
        </a:p>
      </dgm:t>
    </dgm:pt>
    <dgm:pt modelId="{70055A7C-7B14-4865-B949-6BD650FD95EA}" type="parTrans" cxnId="{1C07EA66-DDF2-434E-9CBB-AD03B307D457}">
      <dgm:prSet/>
      <dgm:spPr/>
      <dgm:t>
        <a:bodyPr/>
        <a:lstStyle/>
        <a:p>
          <a:endParaRPr lang="de-DE"/>
        </a:p>
      </dgm:t>
    </dgm:pt>
    <dgm:pt modelId="{CCC10329-E6F7-4933-AF0C-5C6FFD7599EE}" type="sibTrans" cxnId="{1C07EA66-DDF2-434E-9CBB-AD03B307D457}">
      <dgm:prSet/>
      <dgm:spPr/>
      <dgm:t>
        <a:bodyPr/>
        <a:lstStyle/>
        <a:p>
          <a:endParaRPr lang="de-DE"/>
        </a:p>
      </dgm:t>
    </dgm:pt>
    <dgm:pt modelId="{CCCC570F-1257-4D0E-BD30-D1B6C5A96D1D}">
      <dgm:prSet phldrT="[Text]"/>
      <dgm:spPr/>
      <dgm:t>
        <a:bodyPr/>
        <a:lstStyle/>
        <a:p>
          <a:r>
            <a:rPr lang="de-DE" dirty="0" smtClean="0"/>
            <a:t>Key Terms</a:t>
          </a:r>
          <a:endParaRPr lang="de-DE" dirty="0"/>
        </a:p>
      </dgm:t>
    </dgm:pt>
    <dgm:pt modelId="{67D5C4C5-33E3-432D-BFA7-4D65E44B23DC}" type="parTrans" cxnId="{ECBD983B-5F82-4B89-B648-6515A97F637B}">
      <dgm:prSet/>
      <dgm:spPr/>
      <dgm:t>
        <a:bodyPr/>
        <a:lstStyle/>
        <a:p>
          <a:endParaRPr lang="de-DE"/>
        </a:p>
      </dgm:t>
    </dgm:pt>
    <dgm:pt modelId="{5B68C736-7C70-4202-BE1C-49D60B94C56A}" type="sibTrans" cxnId="{ECBD983B-5F82-4B89-B648-6515A97F637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70824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Y="5794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 custScaleY="95798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Y="8939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 custScaleY="7091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Y="6133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3C5F02E-0FFE-4179-89A2-8C4A6E869616}" type="presOf" srcId="{B5D6904C-D49C-441C-8EF3-B2C5CA8CA324}" destId="{E11601EB-F660-440A-AEEA-AF4CFEF139C5}" srcOrd="0" destOrd="0" presId="urn:microsoft.com/office/officeart/2005/8/layout/vList5"/>
    <dgm:cxn modelId="{7D765690-33B0-483E-8A58-F8953F8B07B5}" type="presOf" srcId="{6FA0FFD3-1DA2-47F5-835E-CFE50E6B57E2}" destId="{EE9E695F-4BC6-419D-BDAC-FC9F0A0DDD23}" srcOrd="0" destOrd="1" presId="urn:microsoft.com/office/officeart/2005/8/layout/vList5"/>
    <dgm:cxn modelId="{D6968841-8266-48B5-B15D-CEA13BBEF748}" type="presOf" srcId="{1968B98D-1F79-48F4-843D-EEAAFBF24535}" destId="{7C17F7B8-EB0F-4438-9B5F-C6AF959C98AD}" srcOrd="0" destOrd="0" presId="urn:microsoft.com/office/officeart/2005/8/layout/vList5"/>
    <dgm:cxn modelId="{7086C475-44F8-42FF-9919-673CBD4406A1}" type="presOf" srcId="{CCCC570F-1257-4D0E-BD30-D1B6C5A96D1D}" destId="{EE9E695F-4BC6-419D-BDAC-FC9F0A0DDD23}" srcOrd="0" destOrd="3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8E69BEDD-2B99-4F6B-980F-CAF4A4F4FA52}" srcId="{251B9E23-E011-4DBF-9C2F-F9F43DF4CF28}" destId="{6FA0FFD3-1DA2-47F5-835E-CFE50E6B57E2}" srcOrd="1" destOrd="0" parTransId="{08B605ED-31E4-4D35-848F-06A7A13F2FE3}" sibTransId="{155282D7-E93D-43CC-975B-8DD637333FD2}"/>
    <dgm:cxn modelId="{3E3BCDAE-F0B2-49F6-8DF3-5882DC059F29}" type="presOf" srcId="{251B9E23-E011-4DBF-9C2F-F9F43DF4CF28}" destId="{A257B72E-F754-444C-B866-6FAF8336919B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4226A9C4-DC50-48B9-81B0-221BBB72A590}" type="presOf" srcId="{CE350EE0-9270-41A4-90E7-2809F2C20CAE}" destId="{6F9362EE-2ECA-4FA3-A6AD-C9543318F45F}" srcOrd="0" destOrd="0" presId="urn:microsoft.com/office/officeart/2005/8/layout/vList5"/>
    <dgm:cxn modelId="{F1E8C872-87AE-45F4-92E5-7EA96CF5E180}" type="presOf" srcId="{E4F4CE58-4869-4FF9-AE3C-64C2A7BAC8A2}" destId="{EE9E695F-4BC6-419D-BDAC-FC9F0A0DDD23}" srcOrd="0" destOrd="2" presId="urn:microsoft.com/office/officeart/2005/8/layout/vList5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1C07EA66-DDF2-434E-9CBB-AD03B307D457}" srcId="{251B9E23-E011-4DBF-9C2F-F9F43DF4CF28}" destId="{E4F4CE58-4869-4FF9-AE3C-64C2A7BAC8A2}" srcOrd="2" destOrd="0" parTransId="{70055A7C-7B14-4865-B949-6BD650FD95EA}" sibTransId="{CCC10329-E6F7-4933-AF0C-5C6FFD7599EE}"/>
    <dgm:cxn modelId="{4BB66F5F-0C57-4880-A7BD-20EF7EFF60E2}" type="presOf" srcId="{07D05C88-76D6-4FF8-9D06-E0F6DFE64715}" destId="{448F2A67-E6E2-41D3-BBA0-9D50EB592CFC}" srcOrd="0" destOrd="0" presId="urn:microsoft.com/office/officeart/2005/8/layout/vList5"/>
    <dgm:cxn modelId="{ECBD983B-5F82-4B89-B648-6515A97F637B}" srcId="{251B9E23-E011-4DBF-9C2F-F9F43DF4CF28}" destId="{CCCC570F-1257-4D0E-BD30-D1B6C5A96D1D}" srcOrd="3" destOrd="0" parTransId="{67D5C4C5-33E3-432D-BFA7-4D65E44B23DC}" sibTransId="{5B68C736-7C70-4202-BE1C-49D60B94C56A}"/>
    <dgm:cxn modelId="{3EF1E699-BD14-44CC-8D64-F141258444DC}" type="presOf" srcId="{C88559B0-CAB1-44BF-93B1-238B1F158C50}" destId="{A2A62A9B-AB8B-4EC7-AEB2-270716C007B5}" srcOrd="0" destOrd="0" presId="urn:microsoft.com/office/officeart/2005/8/layout/vList5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3CF57D3C-999C-4A77-AB8B-4391CBDF5AFD}" type="presOf" srcId="{6FDCFBA1-1455-4DA5-9D03-16B9B16DB190}" destId="{EE9E695F-4BC6-419D-BDAC-FC9F0A0DDD23}" srcOrd="0" destOrd="0" presId="urn:microsoft.com/office/officeart/2005/8/layout/vList5"/>
    <dgm:cxn modelId="{FA3B8B55-23A8-47BC-959E-DF3C5E83822E}" type="presParOf" srcId="{A2A62A9B-AB8B-4EC7-AEB2-270716C007B5}" destId="{4485F3D3-D9BB-4157-8EAD-C1CB6247D9CA}" srcOrd="0" destOrd="0" presId="urn:microsoft.com/office/officeart/2005/8/layout/vList5"/>
    <dgm:cxn modelId="{4F7EE329-52C2-43D0-BC64-6BB40DFF9CFC}" type="presParOf" srcId="{4485F3D3-D9BB-4157-8EAD-C1CB6247D9CA}" destId="{E11601EB-F660-440A-AEEA-AF4CFEF139C5}" srcOrd="0" destOrd="0" presId="urn:microsoft.com/office/officeart/2005/8/layout/vList5"/>
    <dgm:cxn modelId="{87D619BD-D8DB-4880-A13B-0B9806ADFF00}" type="presParOf" srcId="{4485F3D3-D9BB-4157-8EAD-C1CB6247D9CA}" destId="{448F2A67-E6E2-41D3-BBA0-9D50EB592CFC}" srcOrd="1" destOrd="0" presId="urn:microsoft.com/office/officeart/2005/8/layout/vList5"/>
    <dgm:cxn modelId="{8C3B200C-4048-41D4-AF3E-5D9A4815550C}" type="presParOf" srcId="{A2A62A9B-AB8B-4EC7-AEB2-270716C007B5}" destId="{EED2FB6E-51C3-4C14-BE07-2781C781930D}" srcOrd="1" destOrd="0" presId="urn:microsoft.com/office/officeart/2005/8/layout/vList5"/>
    <dgm:cxn modelId="{D8AFAA4D-06EF-4E42-AD30-80FCB665D349}" type="presParOf" srcId="{A2A62A9B-AB8B-4EC7-AEB2-270716C007B5}" destId="{FDF9A460-C2CA-48E3-B8E3-121E0CBE6AB7}" srcOrd="2" destOrd="0" presId="urn:microsoft.com/office/officeart/2005/8/layout/vList5"/>
    <dgm:cxn modelId="{D50BC907-F240-4A74-865F-7CAE001B2C66}" type="presParOf" srcId="{FDF9A460-C2CA-48E3-B8E3-121E0CBE6AB7}" destId="{A257B72E-F754-444C-B866-6FAF8336919B}" srcOrd="0" destOrd="0" presId="urn:microsoft.com/office/officeart/2005/8/layout/vList5"/>
    <dgm:cxn modelId="{7D9E6458-0F8A-4C4E-AA02-D99164BFBCC5}" type="presParOf" srcId="{FDF9A460-C2CA-48E3-B8E3-121E0CBE6AB7}" destId="{EE9E695F-4BC6-419D-BDAC-FC9F0A0DDD23}" srcOrd="1" destOrd="0" presId="urn:microsoft.com/office/officeart/2005/8/layout/vList5"/>
    <dgm:cxn modelId="{1EBBE7E7-3BBA-461A-A0AB-B326441351B1}" type="presParOf" srcId="{A2A62A9B-AB8B-4EC7-AEB2-270716C007B5}" destId="{D1583CDC-85FB-42A5-931D-3068F2C4E237}" srcOrd="3" destOrd="0" presId="urn:microsoft.com/office/officeart/2005/8/layout/vList5"/>
    <dgm:cxn modelId="{896DDAD7-94E4-4E9E-B3EB-F84B37A783F5}" type="presParOf" srcId="{A2A62A9B-AB8B-4EC7-AEB2-270716C007B5}" destId="{87BEDE4D-9619-45FE-8D45-761BA3D28F9C}" srcOrd="4" destOrd="0" presId="urn:microsoft.com/office/officeart/2005/8/layout/vList5"/>
    <dgm:cxn modelId="{2FC52EA1-D143-4709-903D-E0348330890B}" type="presParOf" srcId="{87BEDE4D-9619-45FE-8D45-761BA3D28F9C}" destId="{6F9362EE-2ECA-4FA3-A6AD-C9543318F45F}" srcOrd="0" destOrd="0" presId="urn:microsoft.com/office/officeart/2005/8/layout/vList5"/>
    <dgm:cxn modelId="{92ACBFE8-E52C-4926-97D8-A43D0A13A586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A56E657-BC37-4428-A3F9-BF51E061C235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3F31FB36-EA94-49E9-97A2-F46D23AC15E4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7887E6D2-B359-478A-B606-D84C92F697B4}" type="presOf" srcId="{F351D095-D2C1-4F62-A18D-EFB4BA6E2AA9}" destId="{6BF66C9A-92D4-481D-A538-FD1A4E3DC0D5}" srcOrd="0" destOrd="0" presId="urn:microsoft.com/office/officeart/2005/8/layout/chevron1"/>
    <dgm:cxn modelId="{CFC29FA5-3E94-48CC-B517-F68C9557EA51}" type="presOf" srcId="{9C869D94-BD20-4CF6-9CAA-58E706B950F6}" destId="{0AECE453-CE2A-473C-BD27-70D00DA5B95C}" srcOrd="0" destOrd="0" presId="urn:microsoft.com/office/officeart/2005/8/layout/chevron1"/>
    <dgm:cxn modelId="{4F52A4E0-DFC0-478C-A8AD-9EC1FEFE1544}" type="presOf" srcId="{EB61DA86-9B86-4759-822E-DA32F7AA073E}" destId="{135DB1F4-89C2-4733-9521-42FD5CECF10C}" srcOrd="0" destOrd="0" presId="urn:microsoft.com/office/officeart/2005/8/layout/chevron1"/>
    <dgm:cxn modelId="{1ECDC5D7-2D93-4E81-8B9A-D2D166AD2C47}" type="presParOf" srcId="{0AECE453-CE2A-473C-BD27-70D00DA5B95C}" destId="{135DB1F4-89C2-4733-9521-42FD5CECF10C}" srcOrd="0" destOrd="0" presId="urn:microsoft.com/office/officeart/2005/8/layout/chevron1"/>
    <dgm:cxn modelId="{67BF29C0-24F1-4C5A-AABB-019A41D61B68}" type="presParOf" srcId="{0AECE453-CE2A-473C-BD27-70D00DA5B95C}" destId="{E1C76734-9ABE-473C-AD4C-C4BF49F91E97}" srcOrd="1" destOrd="0" presId="urn:microsoft.com/office/officeart/2005/8/layout/chevron1"/>
    <dgm:cxn modelId="{CB9ED4FA-3E63-4ABD-938B-294CEA1E2606}" type="presParOf" srcId="{0AECE453-CE2A-473C-BD27-70D00DA5B95C}" destId="{6BF66C9A-92D4-481D-A538-FD1A4E3DC0D5}" srcOrd="2" destOrd="0" presId="urn:microsoft.com/office/officeart/2005/8/layout/chevron1"/>
    <dgm:cxn modelId="{5EF6A266-D6FD-4960-B7C6-56856E2EF467}" type="presParOf" srcId="{0AECE453-CE2A-473C-BD27-70D00DA5B95C}" destId="{691CB221-7DD5-49BE-AC21-301798066F30}" srcOrd="3" destOrd="0" presId="urn:microsoft.com/office/officeart/2005/8/layout/chevron1"/>
    <dgm:cxn modelId="{23773DE9-FAE8-4603-A3EF-51139732DA0A}" type="presParOf" srcId="{0AECE453-CE2A-473C-BD27-70D00DA5B95C}" destId="{6B5B1B16-1D46-4D7F-892D-7D67FB436452}" srcOrd="4" destOrd="0" presId="urn:microsoft.com/office/officeart/2005/8/layout/chevron1"/>
    <dgm:cxn modelId="{0938D7DC-EDEA-42B4-804D-E75945016D34}" type="presParOf" srcId="{0AECE453-CE2A-473C-BD27-70D00DA5B95C}" destId="{E20E6850-4B52-4A6E-A4B6-B5AE207EA15E}" srcOrd="5" destOrd="0" presId="urn:microsoft.com/office/officeart/2005/8/layout/chevron1"/>
    <dgm:cxn modelId="{58F0D7E3-B351-410B-93B8-59227FC993E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DF3798C-554A-498F-B7A9-DA14721AD708}" type="presOf" srcId="{D14807FD-294C-4482-91EE-34C09B13669A}" destId="{BCE275B7-D1E9-4183-BABE-507E54E1C931}" srcOrd="0" destOrd="0" presId="urn:microsoft.com/office/officeart/2005/8/layout/chevron1"/>
    <dgm:cxn modelId="{5AAB6074-E7E3-4A3F-A096-A8076986C253}" type="presOf" srcId="{9C869D94-BD20-4CF6-9CAA-58E706B950F6}" destId="{0AECE453-CE2A-473C-BD27-70D00DA5B95C}" srcOrd="0" destOrd="0" presId="urn:microsoft.com/office/officeart/2005/8/layout/chevron1"/>
    <dgm:cxn modelId="{066231C1-9B7C-446C-B5C2-C449DF0E1650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B9A922A-706B-4643-A80E-C7E0BAF17609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8CB2CE2F-A60B-4E24-B5DC-24F6C5AEB63C}" type="presOf" srcId="{F351D095-D2C1-4F62-A18D-EFB4BA6E2AA9}" destId="{6BF66C9A-92D4-481D-A538-FD1A4E3DC0D5}" srcOrd="0" destOrd="0" presId="urn:microsoft.com/office/officeart/2005/8/layout/chevron1"/>
    <dgm:cxn modelId="{17E92F60-8D97-458F-BCFF-A61787D0359E}" type="presParOf" srcId="{0AECE453-CE2A-473C-BD27-70D00DA5B95C}" destId="{135DB1F4-89C2-4733-9521-42FD5CECF10C}" srcOrd="0" destOrd="0" presId="urn:microsoft.com/office/officeart/2005/8/layout/chevron1"/>
    <dgm:cxn modelId="{0903331C-866D-4656-8A4E-F7EE58002634}" type="presParOf" srcId="{0AECE453-CE2A-473C-BD27-70D00DA5B95C}" destId="{E1C76734-9ABE-473C-AD4C-C4BF49F91E97}" srcOrd="1" destOrd="0" presId="urn:microsoft.com/office/officeart/2005/8/layout/chevron1"/>
    <dgm:cxn modelId="{529595A0-AA43-45DC-9182-09B55213560B}" type="presParOf" srcId="{0AECE453-CE2A-473C-BD27-70D00DA5B95C}" destId="{6BF66C9A-92D4-481D-A538-FD1A4E3DC0D5}" srcOrd="2" destOrd="0" presId="urn:microsoft.com/office/officeart/2005/8/layout/chevron1"/>
    <dgm:cxn modelId="{16BA1355-12F0-4C7A-A146-948BD34CB30A}" type="presParOf" srcId="{0AECE453-CE2A-473C-BD27-70D00DA5B95C}" destId="{691CB221-7DD5-49BE-AC21-301798066F30}" srcOrd="3" destOrd="0" presId="urn:microsoft.com/office/officeart/2005/8/layout/chevron1"/>
    <dgm:cxn modelId="{DDEB9EC9-07B8-4B64-8404-FF43C788ED5E}" type="presParOf" srcId="{0AECE453-CE2A-473C-BD27-70D00DA5B95C}" destId="{6B5B1B16-1D46-4D7F-892D-7D67FB436452}" srcOrd="4" destOrd="0" presId="urn:microsoft.com/office/officeart/2005/8/layout/chevron1"/>
    <dgm:cxn modelId="{987BC952-6690-4862-8DC3-B40EDA61B4DA}" type="presParOf" srcId="{0AECE453-CE2A-473C-BD27-70D00DA5B95C}" destId="{E20E6850-4B52-4A6E-A4B6-B5AE207EA15E}" srcOrd="5" destOrd="0" presId="urn:microsoft.com/office/officeart/2005/8/layout/chevron1"/>
    <dgm:cxn modelId="{20ABC9AC-CAD4-44EC-9051-01F04A09D2F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EA4EA3B3-1B1E-4E89-ACD3-8577A7ED7130}" type="presOf" srcId="{544A2B27-F62F-4504-85C1-82D7732CCB0A}" destId="{6B5B1B16-1D46-4D7F-892D-7D67FB436452}" srcOrd="0" destOrd="0" presId="urn:microsoft.com/office/officeart/2005/8/layout/chevron1"/>
    <dgm:cxn modelId="{ECBF7ACC-AE3F-4ACB-8134-5183FB7A1CA7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97C345D0-9A05-47BA-B7B9-C77235036D62}" type="presOf" srcId="{9C869D94-BD20-4CF6-9CAA-58E706B950F6}" destId="{0AECE453-CE2A-473C-BD27-70D00DA5B95C}" srcOrd="0" destOrd="0" presId="urn:microsoft.com/office/officeart/2005/8/layout/chevron1"/>
    <dgm:cxn modelId="{6BDB0D13-B5C6-400C-A524-E09E8051C3F6}" type="presOf" srcId="{F351D095-D2C1-4F62-A18D-EFB4BA6E2AA9}" destId="{6BF66C9A-92D4-481D-A538-FD1A4E3DC0D5}" srcOrd="0" destOrd="0" presId="urn:microsoft.com/office/officeart/2005/8/layout/chevron1"/>
    <dgm:cxn modelId="{A21431AC-863C-4A1D-B515-93DEDC33E856}" type="presOf" srcId="{EB61DA86-9B86-4759-822E-DA32F7AA073E}" destId="{135DB1F4-89C2-4733-9521-42FD5CECF10C}" srcOrd="0" destOrd="0" presId="urn:microsoft.com/office/officeart/2005/8/layout/chevron1"/>
    <dgm:cxn modelId="{748F40EC-70B1-4985-9651-DA8B540A1828}" type="presParOf" srcId="{0AECE453-CE2A-473C-BD27-70D00DA5B95C}" destId="{135DB1F4-89C2-4733-9521-42FD5CECF10C}" srcOrd="0" destOrd="0" presId="urn:microsoft.com/office/officeart/2005/8/layout/chevron1"/>
    <dgm:cxn modelId="{873A6781-AE3D-4F1C-8F6A-D8C5976C2738}" type="presParOf" srcId="{0AECE453-CE2A-473C-BD27-70D00DA5B95C}" destId="{E1C76734-9ABE-473C-AD4C-C4BF49F91E97}" srcOrd="1" destOrd="0" presId="urn:microsoft.com/office/officeart/2005/8/layout/chevron1"/>
    <dgm:cxn modelId="{AABC5542-89D1-45D2-A67F-7216A768F870}" type="presParOf" srcId="{0AECE453-CE2A-473C-BD27-70D00DA5B95C}" destId="{6BF66C9A-92D4-481D-A538-FD1A4E3DC0D5}" srcOrd="2" destOrd="0" presId="urn:microsoft.com/office/officeart/2005/8/layout/chevron1"/>
    <dgm:cxn modelId="{2798C0CE-7B6A-4A46-A49B-FD2683B0C57D}" type="presParOf" srcId="{0AECE453-CE2A-473C-BD27-70D00DA5B95C}" destId="{691CB221-7DD5-49BE-AC21-301798066F30}" srcOrd="3" destOrd="0" presId="urn:microsoft.com/office/officeart/2005/8/layout/chevron1"/>
    <dgm:cxn modelId="{E4AAE318-63C9-423D-B13A-271A5F807F9C}" type="presParOf" srcId="{0AECE453-CE2A-473C-BD27-70D00DA5B95C}" destId="{6B5B1B16-1D46-4D7F-892D-7D67FB436452}" srcOrd="4" destOrd="0" presId="urn:microsoft.com/office/officeart/2005/8/layout/chevron1"/>
    <dgm:cxn modelId="{18515321-1820-4D55-AEE6-E723C7EEE4C3}" type="presParOf" srcId="{0AECE453-CE2A-473C-BD27-70D00DA5B95C}" destId="{E20E6850-4B52-4A6E-A4B6-B5AE207EA15E}" srcOrd="5" destOrd="0" presId="urn:microsoft.com/office/officeart/2005/8/layout/chevron1"/>
    <dgm:cxn modelId="{74DF5EE5-C6F5-46B5-8903-94891A701B33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6EA1D85-9DD4-4BA9-B132-DDA397EACC3B}" type="presOf" srcId="{544A2B27-F62F-4504-85C1-82D7732CCB0A}" destId="{6B5B1B16-1D46-4D7F-892D-7D67FB436452}" srcOrd="0" destOrd="0" presId="urn:microsoft.com/office/officeart/2005/8/layout/chevron1"/>
    <dgm:cxn modelId="{6A1C87BA-602C-4659-9B47-D67705B8E93F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0FC33E-CD41-4504-B59E-DFED6FC60E5F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005A33E-9261-4E86-BDB6-55B9563133D9}" type="presOf" srcId="{9C869D94-BD20-4CF6-9CAA-58E706B950F6}" destId="{0AECE453-CE2A-473C-BD27-70D00DA5B95C}" srcOrd="0" destOrd="0" presId="urn:microsoft.com/office/officeart/2005/8/layout/chevron1"/>
    <dgm:cxn modelId="{0EC59711-91B8-414D-885E-42A32E0F9BBF}" type="presOf" srcId="{D14807FD-294C-4482-91EE-34C09B13669A}" destId="{BCE275B7-D1E9-4183-BABE-507E54E1C931}" srcOrd="0" destOrd="0" presId="urn:microsoft.com/office/officeart/2005/8/layout/chevron1"/>
    <dgm:cxn modelId="{68414E76-DD41-4018-8A89-37C4CAAD736E}" type="presParOf" srcId="{0AECE453-CE2A-473C-BD27-70D00DA5B95C}" destId="{135DB1F4-89C2-4733-9521-42FD5CECF10C}" srcOrd="0" destOrd="0" presId="urn:microsoft.com/office/officeart/2005/8/layout/chevron1"/>
    <dgm:cxn modelId="{CBFB86D6-CCFA-40E7-8992-402D6827BE21}" type="presParOf" srcId="{0AECE453-CE2A-473C-BD27-70D00DA5B95C}" destId="{E1C76734-9ABE-473C-AD4C-C4BF49F91E97}" srcOrd="1" destOrd="0" presId="urn:microsoft.com/office/officeart/2005/8/layout/chevron1"/>
    <dgm:cxn modelId="{5D6934AB-A976-41A0-AC22-40B33747BCDF}" type="presParOf" srcId="{0AECE453-CE2A-473C-BD27-70D00DA5B95C}" destId="{6BF66C9A-92D4-481D-A538-FD1A4E3DC0D5}" srcOrd="2" destOrd="0" presId="urn:microsoft.com/office/officeart/2005/8/layout/chevron1"/>
    <dgm:cxn modelId="{1D42783A-531C-430F-9FF4-A5887D7EB69E}" type="presParOf" srcId="{0AECE453-CE2A-473C-BD27-70D00DA5B95C}" destId="{691CB221-7DD5-49BE-AC21-301798066F30}" srcOrd="3" destOrd="0" presId="urn:microsoft.com/office/officeart/2005/8/layout/chevron1"/>
    <dgm:cxn modelId="{2215FC8C-6C3A-4888-BC61-67E8EB626FF7}" type="presParOf" srcId="{0AECE453-CE2A-473C-BD27-70D00DA5B95C}" destId="{6B5B1B16-1D46-4D7F-892D-7D67FB436452}" srcOrd="4" destOrd="0" presId="urn:microsoft.com/office/officeart/2005/8/layout/chevron1"/>
    <dgm:cxn modelId="{899D0D6A-CF85-48A0-8078-08C55F4F8E4A}" type="presParOf" srcId="{0AECE453-CE2A-473C-BD27-70D00DA5B95C}" destId="{E20E6850-4B52-4A6E-A4B6-B5AE207EA15E}" srcOrd="5" destOrd="0" presId="urn:microsoft.com/office/officeart/2005/8/layout/chevron1"/>
    <dgm:cxn modelId="{AF6306A1-8687-43D8-8FC8-EAC26F40293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14DD6980-A11A-4B1B-87B0-232D39AC3EC3}" type="presOf" srcId="{C954CEC6-D6DD-4AD5-B1BE-F4C362F708A5}" destId="{0A240859-8B98-4BE6-95B6-2FD30530FEE4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Person</a:t>
          </a:r>
          <a:endParaRPr lang="de-DE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 custT="1"/>
      <dgm:spPr/>
      <dgm:t>
        <a:bodyPr/>
        <a:lstStyle/>
        <a:p>
          <a:r>
            <a:rPr lang="de-DE" sz="1600" dirty="0" smtClean="0"/>
            <a:t>Name : Frank Kloeker</a:t>
          </a:r>
          <a:endParaRPr lang="de-DE" sz="1600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Education</a:t>
          </a:r>
          <a:endParaRPr lang="de-DE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 custT="1"/>
      <dgm:spPr/>
      <dgm:t>
        <a:bodyPr/>
        <a:lstStyle/>
        <a:p>
          <a:r>
            <a:rPr lang="de-DE" sz="1600" dirty="0" smtClean="0"/>
            <a:t>27 years of experience in Operations</a:t>
          </a:r>
          <a:endParaRPr lang="de-DE" sz="1600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Today</a:t>
          </a:r>
          <a:endParaRPr lang="de-DE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Applicationmanagement for Cloud hosting platform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973E6E7E-EA01-4282-8A35-A28F041D1B4C}">
      <dgm:prSet phldrT="[Text]" custT="1"/>
      <dgm:spPr/>
      <dgm:t>
        <a:bodyPr/>
        <a:lstStyle/>
        <a:p>
          <a:r>
            <a:rPr lang="de-DE" sz="1600" dirty="0" smtClean="0"/>
            <a:t>From : Berlin</a:t>
          </a:r>
          <a:endParaRPr lang="de-DE" sz="1600" dirty="0"/>
        </a:p>
      </dgm:t>
    </dgm:pt>
    <dgm:pt modelId="{FF3B188C-1936-455F-94FB-C48B6C0EB124}" type="parTrans" cxnId="{8A510F8E-2FB4-4FC7-9D82-0D998C4BE42D}">
      <dgm:prSet/>
      <dgm:spPr/>
      <dgm:t>
        <a:bodyPr/>
        <a:lstStyle/>
        <a:p>
          <a:endParaRPr lang="de-DE"/>
        </a:p>
      </dgm:t>
    </dgm:pt>
    <dgm:pt modelId="{E035FA9F-6496-47CF-9EE7-625EF6E231CA}" type="sibTrans" cxnId="{8A510F8E-2FB4-4FC7-9D82-0D998C4BE42D}">
      <dgm:prSet/>
      <dgm:spPr/>
      <dgm:t>
        <a:bodyPr/>
        <a:lstStyle/>
        <a:p>
          <a:endParaRPr lang="de-DE"/>
        </a:p>
      </dgm:t>
    </dgm:pt>
    <dgm:pt modelId="{01B7AF1F-76D9-444C-A3C4-D34A87C7C385}">
      <dgm:prSet phldrT="[Text]"/>
      <dgm:spPr/>
      <dgm:t>
        <a:bodyPr/>
        <a:lstStyle/>
        <a:p>
          <a:r>
            <a:rPr lang="de-DE" dirty="0" smtClean="0"/>
            <a:t>personal point of contact for Apprentices</a:t>
          </a:r>
          <a:endParaRPr lang="de-DE" dirty="0"/>
        </a:p>
      </dgm:t>
    </dgm:pt>
    <dgm:pt modelId="{557EAD3B-2053-40CE-9367-308EA22DFF7B}" type="parTrans" cxnId="{5314845C-E05B-41B2-B8B1-B96962A5748A}">
      <dgm:prSet/>
      <dgm:spPr/>
      <dgm:t>
        <a:bodyPr/>
        <a:lstStyle/>
        <a:p>
          <a:endParaRPr lang="de-DE"/>
        </a:p>
      </dgm:t>
    </dgm:pt>
    <dgm:pt modelId="{6DB60F5A-19EC-4CF4-A1DC-23C908C6AF10}" type="sibTrans" cxnId="{5314845C-E05B-41B2-B8B1-B96962A5748A}">
      <dgm:prSet/>
      <dgm:spPr/>
      <dgm:t>
        <a:bodyPr/>
        <a:lstStyle/>
        <a:p>
          <a:endParaRPr lang="de-DE"/>
        </a:p>
      </dgm:t>
    </dgm:pt>
    <dgm:pt modelId="{51B82884-660E-4227-8BA3-645B80AFC0EE}">
      <dgm:prSet phldrT="[Text]"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/>
        </a:p>
      </dgm:t>
    </dgm:pt>
    <dgm:pt modelId="{60DD0A23-826D-4F6B-BA86-AA0F901DE3D0}" type="parTrans" cxnId="{6FCEEC0A-BF54-47D9-9B8D-3456D5F90F07}">
      <dgm:prSet/>
      <dgm:spPr/>
      <dgm:t>
        <a:bodyPr/>
        <a:lstStyle/>
        <a:p>
          <a:endParaRPr lang="de-DE"/>
        </a:p>
      </dgm:t>
    </dgm:pt>
    <dgm:pt modelId="{D166F56C-3123-4EF7-BFB8-BB165474D568}" type="sibTrans" cxnId="{6FCEEC0A-BF54-47D9-9B8D-3456D5F90F07}">
      <dgm:prSet/>
      <dgm:spPr/>
      <dgm:t>
        <a:bodyPr/>
        <a:lstStyle/>
        <a:p>
          <a:endParaRPr lang="de-DE"/>
        </a:p>
      </dgm:t>
    </dgm:pt>
    <dgm:pt modelId="{2F2F43C2-2AB6-4104-9881-C28442A1DBCF}">
      <dgm:prSet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F7BF79B8-464D-4ACD-AA18-B6B719E4E5C9}" type="parTrans" cxnId="{B290E587-3C0B-4013-A8A5-63F15B065740}">
      <dgm:prSet/>
      <dgm:spPr/>
      <dgm:t>
        <a:bodyPr/>
        <a:lstStyle/>
        <a:p>
          <a:endParaRPr lang="de-DE"/>
        </a:p>
      </dgm:t>
    </dgm:pt>
    <dgm:pt modelId="{109C9B38-11BF-42F4-847C-03233D347413}" type="sibTrans" cxnId="{B290E587-3C0B-4013-A8A5-63F15B065740}">
      <dgm:prSet/>
      <dgm:spPr/>
      <dgm:t>
        <a:bodyPr/>
        <a:lstStyle/>
        <a:p>
          <a:endParaRPr lang="de-DE"/>
        </a:p>
      </dgm:t>
    </dgm:pt>
    <dgm:pt modelId="{E1CB491F-5046-43FD-8F97-D9D4375E7DB9}">
      <dgm:prSet phldrT="[Text]" custT="1"/>
      <dgm:spPr/>
      <dgm:t>
        <a:bodyPr/>
        <a:lstStyle/>
        <a:p>
          <a:r>
            <a:rPr lang="de-DE" sz="1600" dirty="0" smtClean="0"/>
            <a:t>10 years Examiner on Chamber of Commerce and Industry </a:t>
          </a:r>
          <a:endParaRPr lang="de-DE" sz="1600" dirty="0"/>
        </a:p>
      </dgm:t>
    </dgm:pt>
    <dgm:pt modelId="{8954813B-8F36-45E7-9D90-DB4F3CB234E3}" type="parTrans" cxnId="{0C725A33-13F5-4F07-B24F-DAAEAC6E624B}">
      <dgm:prSet/>
      <dgm:spPr/>
      <dgm:t>
        <a:bodyPr/>
        <a:lstStyle/>
        <a:p>
          <a:endParaRPr lang="de-DE"/>
        </a:p>
      </dgm:t>
    </dgm:pt>
    <dgm:pt modelId="{1651D35A-63EA-4A86-93ED-A2FB2B93AE8F}" type="sibTrans" cxnId="{0C725A33-13F5-4F07-B24F-DAAEAC6E624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64840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X="149647" custScaleY="61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X="14912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X="14832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90FF246-DC7E-4520-AA70-CA788FDFF311}" type="presOf" srcId="{6FDCFBA1-1455-4DA5-9D03-16B9B16DB190}" destId="{EE9E695F-4BC6-419D-BDAC-FC9F0A0DDD23}" srcOrd="0" destOrd="0" presId="urn:microsoft.com/office/officeart/2005/8/layout/vList5"/>
    <dgm:cxn modelId="{3A6A57E9-C268-4994-8482-306152AC4025}" type="presOf" srcId="{B5D6904C-D49C-441C-8EF3-B2C5CA8CA324}" destId="{E11601EB-F660-440A-AEEA-AF4CFEF139C5}" srcOrd="0" destOrd="0" presId="urn:microsoft.com/office/officeart/2005/8/layout/vList5"/>
    <dgm:cxn modelId="{D86218F6-AC3F-4527-9F67-E231C115D825}" type="presOf" srcId="{01B7AF1F-76D9-444C-A3C4-D34A87C7C385}" destId="{7C17F7B8-EB0F-4438-9B5F-C6AF959C98AD}" srcOrd="0" destOrd="1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257EAFC4-392B-4BF2-ACD4-598C6F38D92C}" type="presOf" srcId="{51B82884-660E-4227-8BA3-645B80AFC0EE}" destId="{7C17F7B8-EB0F-4438-9B5F-C6AF959C98AD}" srcOrd="0" destOrd="2" presId="urn:microsoft.com/office/officeart/2005/8/layout/vList5"/>
    <dgm:cxn modelId="{246C07D0-BAE6-44C4-9707-AD68477F4FA6}" type="presOf" srcId="{CE350EE0-9270-41A4-90E7-2809F2C20CAE}" destId="{6F9362EE-2ECA-4FA3-A6AD-C9543318F45F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B9DBF935-B0D2-4AB3-989D-EDC0A6C31BBA}" type="presOf" srcId="{2F2F43C2-2AB6-4104-9881-C28442A1DBCF}" destId="{7C17F7B8-EB0F-4438-9B5F-C6AF959C98AD}" srcOrd="0" destOrd="3" presId="urn:microsoft.com/office/officeart/2005/8/layout/vList5"/>
    <dgm:cxn modelId="{CC102197-58BE-4795-A8F0-A7C2845AD51F}" type="presOf" srcId="{251B9E23-E011-4DBF-9C2F-F9F43DF4CF28}" destId="{A257B72E-F754-444C-B866-6FAF8336919B}" srcOrd="0" destOrd="0" presId="urn:microsoft.com/office/officeart/2005/8/layout/vList5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9B11BEAD-BE01-448C-A3DF-8C510FD84DEC}" type="presOf" srcId="{973E6E7E-EA01-4282-8A35-A28F041D1B4C}" destId="{448F2A67-E6E2-41D3-BBA0-9D50EB592CFC}" srcOrd="0" destOrd="1" presId="urn:microsoft.com/office/officeart/2005/8/layout/vList5"/>
    <dgm:cxn modelId="{8A510F8E-2FB4-4FC7-9D82-0D998C4BE42D}" srcId="{B5D6904C-D49C-441C-8EF3-B2C5CA8CA324}" destId="{973E6E7E-EA01-4282-8A35-A28F041D1B4C}" srcOrd="1" destOrd="0" parTransId="{FF3B188C-1936-455F-94FB-C48B6C0EB124}" sibTransId="{E035FA9F-6496-47CF-9EE7-625EF6E231CA}"/>
    <dgm:cxn modelId="{6FCEEC0A-BF54-47D9-9B8D-3456D5F90F07}" srcId="{CE350EE0-9270-41A4-90E7-2809F2C20CAE}" destId="{51B82884-660E-4227-8BA3-645B80AFC0EE}" srcOrd="2" destOrd="0" parTransId="{60DD0A23-826D-4F6B-BA86-AA0F901DE3D0}" sibTransId="{D166F56C-3123-4EF7-BFB8-BB165474D568}"/>
    <dgm:cxn modelId="{5314845C-E05B-41B2-B8B1-B96962A5748A}" srcId="{CE350EE0-9270-41A4-90E7-2809F2C20CAE}" destId="{01B7AF1F-76D9-444C-A3C4-D34A87C7C385}" srcOrd="1" destOrd="0" parTransId="{557EAD3B-2053-40CE-9367-308EA22DFF7B}" sibTransId="{6DB60F5A-19EC-4CF4-A1DC-23C908C6AF10}"/>
    <dgm:cxn modelId="{7FBECA8E-9CEE-4832-92E8-AAFD75F3E4BA}" type="presOf" srcId="{E1CB491F-5046-43FD-8F97-D9D4375E7DB9}" destId="{EE9E695F-4BC6-419D-BDAC-FC9F0A0DDD23}" srcOrd="0" destOrd="1" presId="urn:microsoft.com/office/officeart/2005/8/layout/vList5"/>
    <dgm:cxn modelId="{79F02A4F-F442-4222-ABE9-A86971596D1B}" type="presOf" srcId="{C88559B0-CAB1-44BF-93B1-238B1F158C50}" destId="{A2A62A9B-AB8B-4EC7-AEB2-270716C007B5}" srcOrd="0" destOrd="0" presId="urn:microsoft.com/office/officeart/2005/8/layout/vList5"/>
    <dgm:cxn modelId="{B290E587-3C0B-4013-A8A5-63F15B065740}" srcId="{CE350EE0-9270-41A4-90E7-2809F2C20CAE}" destId="{2F2F43C2-2AB6-4104-9881-C28442A1DBCF}" srcOrd="3" destOrd="0" parTransId="{F7BF79B8-464D-4ACD-AA18-B6B719E4E5C9}" sibTransId="{109C9B38-11BF-42F4-847C-03233D347413}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EC56EC8F-9982-4900-AA75-8E67097E3CD7}" type="presOf" srcId="{07D05C88-76D6-4FF8-9D06-E0F6DFE64715}" destId="{448F2A67-E6E2-41D3-BBA0-9D50EB592CFC}" srcOrd="0" destOrd="0" presId="urn:microsoft.com/office/officeart/2005/8/layout/vList5"/>
    <dgm:cxn modelId="{4FC05C0F-6581-4A6C-B823-FE40BA07CA1B}" type="presOf" srcId="{1968B98D-1F79-48F4-843D-EEAAFBF24535}" destId="{7C17F7B8-EB0F-4438-9B5F-C6AF959C98AD}" srcOrd="0" destOrd="0" presId="urn:microsoft.com/office/officeart/2005/8/layout/vList5"/>
    <dgm:cxn modelId="{0C725A33-13F5-4F07-B24F-DAAEAC6E624B}" srcId="{251B9E23-E011-4DBF-9C2F-F9F43DF4CF28}" destId="{E1CB491F-5046-43FD-8F97-D9D4375E7DB9}" srcOrd="1" destOrd="0" parTransId="{8954813B-8F36-45E7-9D90-DB4F3CB234E3}" sibTransId="{1651D35A-63EA-4A86-93ED-A2FB2B93AE8F}"/>
    <dgm:cxn modelId="{934C52FA-0B99-44AF-A82D-8760F4C87778}" type="presParOf" srcId="{A2A62A9B-AB8B-4EC7-AEB2-270716C007B5}" destId="{4485F3D3-D9BB-4157-8EAD-C1CB6247D9CA}" srcOrd="0" destOrd="0" presId="urn:microsoft.com/office/officeart/2005/8/layout/vList5"/>
    <dgm:cxn modelId="{1C3D2BA5-66B0-4E16-B16A-E231FAF66FF3}" type="presParOf" srcId="{4485F3D3-D9BB-4157-8EAD-C1CB6247D9CA}" destId="{E11601EB-F660-440A-AEEA-AF4CFEF139C5}" srcOrd="0" destOrd="0" presId="urn:microsoft.com/office/officeart/2005/8/layout/vList5"/>
    <dgm:cxn modelId="{5156FC1B-ECAD-4551-BFE4-85840AB3DFED}" type="presParOf" srcId="{4485F3D3-D9BB-4157-8EAD-C1CB6247D9CA}" destId="{448F2A67-E6E2-41D3-BBA0-9D50EB592CFC}" srcOrd="1" destOrd="0" presId="urn:microsoft.com/office/officeart/2005/8/layout/vList5"/>
    <dgm:cxn modelId="{A6EDB4E5-BCBB-4800-A31E-054DC1BE7C27}" type="presParOf" srcId="{A2A62A9B-AB8B-4EC7-AEB2-270716C007B5}" destId="{EED2FB6E-51C3-4C14-BE07-2781C781930D}" srcOrd="1" destOrd="0" presId="urn:microsoft.com/office/officeart/2005/8/layout/vList5"/>
    <dgm:cxn modelId="{4FA4E319-4FA4-489E-8D68-E3679F3567E2}" type="presParOf" srcId="{A2A62A9B-AB8B-4EC7-AEB2-270716C007B5}" destId="{FDF9A460-C2CA-48E3-B8E3-121E0CBE6AB7}" srcOrd="2" destOrd="0" presId="urn:microsoft.com/office/officeart/2005/8/layout/vList5"/>
    <dgm:cxn modelId="{AB70B5EB-2FFC-4038-9213-12780C3A44EE}" type="presParOf" srcId="{FDF9A460-C2CA-48E3-B8E3-121E0CBE6AB7}" destId="{A257B72E-F754-444C-B866-6FAF8336919B}" srcOrd="0" destOrd="0" presId="urn:microsoft.com/office/officeart/2005/8/layout/vList5"/>
    <dgm:cxn modelId="{C76432DA-96A5-4D58-B32F-DC1830F56E2F}" type="presParOf" srcId="{FDF9A460-C2CA-48E3-B8E3-121E0CBE6AB7}" destId="{EE9E695F-4BC6-419D-BDAC-FC9F0A0DDD23}" srcOrd="1" destOrd="0" presId="urn:microsoft.com/office/officeart/2005/8/layout/vList5"/>
    <dgm:cxn modelId="{922E46B1-B3C7-44A5-ABCB-B09DF557FA36}" type="presParOf" srcId="{A2A62A9B-AB8B-4EC7-AEB2-270716C007B5}" destId="{D1583CDC-85FB-42A5-931D-3068F2C4E237}" srcOrd="3" destOrd="0" presId="urn:microsoft.com/office/officeart/2005/8/layout/vList5"/>
    <dgm:cxn modelId="{44CD4151-003D-48B4-A719-0CDAB7553363}" type="presParOf" srcId="{A2A62A9B-AB8B-4EC7-AEB2-270716C007B5}" destId="{87BEDE4D-9619-45FE-8D45-761BA3D28F9C}" srcOrd="4" destOrd="0" presId="urn:microsoft.com/office/officeart/2005/8/layout/vList5"/>
    <dgm:cxn modelId="{1B5BA28A-C177-4B1E-8AA9-B5C62623FD84}" type="presParOf" srcId="{87BEDE4D-9619-45FE-8D45-761BA3D28F9C}" destId="{6F9362EE-2ECA-4FA3-A6AD-C9543318F45F}" srcOrd="0" destOrd="0" presId="urn:microsoft.com/office/officeart/2005/8/layout/vList5"/>
    <dgm:cxn modelId="{D0020B1D-DEF2-42F4-851A-5C6ECCF9FC5E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18A1C4B-DF77-4CBD-87AB-7B7BE4F1582E}" type="presOf" srcId="{9C869D94-BD20-4CF6-9CAA-58E706B950F6}" destId="{0AECE453-CE2A-473C-BD27-70D00DA5B95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5CDFDA96-A4B0-48B4-8A39-86DEE7F1642D}" type="presOf" srcId="{544A2B27-F62F-4504-85C1-82D7732CCB0A}" destId="{6B5B1B16-1D46-4D7F-892D-7D67FB436452}" srcOrd="0" destOrd="0" presId="urn:microsoft.com/office/officeart/2005/8/layout/chevron1"/>
    <dgm:cxn modelId="{748887C0-04D0-4FF3-8126-27152E9FAFA5}" type="presOf" srcId="{D14807FD-294C-4482-91EE-34C09B13669A}" destId="{BCE275B7-D1E9-4183-BABE-507E54E1C931}" srcOrd="0" destOrd="0" presId="urn:microsoft.com/office/officeart/2005/8/layout/chevron1"/>
    <dgm:cxn modelId="{D96C3BB1-6C92-4672-BF38-C5CE47830F44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E018AA4-AC05-4701-8064-E0DA5F574386}" type="presOf" srcId="{F351D095-D2C1-4F62-A18D-EFB4BA6E2AA9}" destId="{6BF66C9A-92D4-481D-A538-FD1A4E3DC0D5}" srcOrd="0" destOrd="0" presId="urn:microsoft.com/office/officeart/2005/8/layout/chevron1"/>
    <dgm:cxn modelId="{84E9FE2F-EAB8-4F1E-9189-63EA2AC18E83}" type="presParOf" srcId="{0AECE453-CE2A-473C-BD27-70D00DA5B95C}" destId="{135DB1F4-89C2-4733-9521-42FD5CECF10C}" srcOrd="0" destOrd="0" presId="urn:microsoft.com/office/officeart/2005/8/layout/chevron1"/>
    <dgm:cxn modelId="{8B9993F4-47DD-48F4-AFBE-0B8310066E6B}" type="presParOf" srcId="{0AECE453-CE2A-473C-BD27-70D00DA5B95C}" destId="{E1C76734-9ABE-473C-AD4C-C4BF49F91E97}" srcOrd="1" destOrd="0" presId="urn:microsoft.com/office/officeart/2005/8/layout/chevron1"/>
    <dgm:cxn modelId="{8C837B3F-3147-44CA-B067-2C4276946852}" type="presParOf" srcId="{0AECE453-CE2A-473C-BD27-70D00DA5B95C}" destId="{6BF66C9A-92D4-481D-A538-FD1A4E3DC0D5}" srcOrd="2" destOrd="0" presId="urn:microsoft.com/office/officeart/2005/8/layout/chevron1"/>
    <dgm:cxn modelId="{564E3C5F-1ECE-4015-9F43-70CCF0F80E94}" type="presParOf" srcId="{0AECE453-CE2A-473C-BD27-70D00DA5B95C}" destId="{691CB221-7DD5-49BE-AC21-301798066F30}" srcOrd="3" destOrd="0" presId="urn:microsoft.com/office/officeart/2005/8/layout/chevron1"/>
    <dgm:cxn modelId="{FAEDF910-672D-41B1-B506-4E178B78FE75}" type="presParOf" srcId="{0AECE453-CE2A-473C-BD27-70D00DA5B95C}" destId="{6B5B1B16-1D46-4D7F-892D-7D67FB436452}" srcOrd="4" destOrd="0" presId="urn:microsoft.com/office/officeart/2005/8/layout/chevron1"/>
    <dgm:cxn modelId="{4416BAF1-3051-4487-A32E-60D865F1B54B}" type="presParOf" srcId="{0AECE453-CE2A-473C-BD27-70D00DA5B95C}" destId="{E20E6850-4B52-4A6E-A4B6-B5AE207EA15E}" srcOrd="5" destOrd="0" presId="urn:microsoft.com/office/officeart/2005/8/layout/chevron1"/>
    <dgm:cxn modelId="{E34D0D08-AD88-4C07-91E9-A3602145248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Informations</a:t>
          </a:r>
          <a:endParaRPr lang="de-DE" sz="2000" dirty="0">
            <a:solidFill>
              <a:schemeClr val="bg1"/>
            </a:solidFill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400" dirty="0" smtClean="0"/>
            <a:t> </a:t>
          </a:r>
          <a:endParaRPr lang="de-DE" sz="1400" dirty="0"/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ictures</a:t>
          </a:r>
          <a:endParaRPr lang="de-DE" sz="2800" dirty="0">
            <a:solidFill>
              <a:schemeClr val="bg1"/>
            </a:solidFill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400" dirty="0" smtClean="0"/>
            <a:t> </a:t>
          </a:r>
          <a:r>
            <a:rPr lang="de-DE" sz="1200" dirty="0" smtClean="0"/>
            <a:t>( Slide #10 CC)</a:t>
          </a:r>
          <a:endParaRPr lang="de-DE" sz="1200" dirty="0"/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400" dirty="0" smtClean="0"/>
            <a:t> </a:t>
          </a:r>
          <a:r>
            <a:rPr lang="de-DE" sz="1200" dirty="0" smtClean="0"/>
            <a:t>(Slide #10 Planning)</a:t>
          </a:r>
          <a:endParaRPr lang="de-DE" sz="1200" dirty="0"/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400" dirty="0" smtClean="0"/>
            <a:t> </a:t>
          </a:r>
          <a:r>
            <a:rPr lang="de-DE" sz="1200" dirty="0" smtClean="0"/>
            <a:t>(Slide #10 Office Tools)</a:t>
          </a:r>
          <a:endParaRPr lang="de-DE" sz="1200" dirty="0"/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400" dirty="0" smtClean="0"/>
            <a:t> </a:t>
          </a:r>
          <a:r>
            <a:rPr lang="de-DE" sz="1200" dirty="0" smtClean="0"/>
            <a:t>(Slide #10 Creative)</a:t>
          </a:r>
          <a:endParaRPr lang="de-DE" sz="1200" dirty="0"/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400" dirty="0" smtClean="0"/>
            <a:t> </a:t>
          </a:r>
          <a:r>
            <a:rPr lang="de-DE" sz="1200" dirty="0" smtClean="0"/>
            <a:t>(Slide #14 Datacenter Biere)</a:t>
          </a:r>
          <a:endParaRPr lang="de-DE" sz="1200" dirty="0"/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400" dirty="0" smtClean="0"/>
            <a:t> </a:t>
          </a:r>
          <a:r>
            <a:rPr lang="de-DE" sz="1200" dirty="0" smtClean="0"/>
            <a:t>(Slide #10,#1 OpenStack Logo)</a:t>
          </a:r>
          <a:endParaRPr lang="de-DE" sz="1200" dirty="0"/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CABD98BA-5FB0-41C7-839D-4F9AA193A47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8"/>
            </a:rPr>
            <a:t>https://cloud.telekom.de/</a:t>
          </a:r>
          <a:r>
            <a:rPr lang="de-DE" sz="1400" dirty="0" smtClean="0"/>
            <a:t> </a:t>
          </a:r>
          <a:r>
            <a:rPr lang="de-DE" sz="1200" dirty="0" smtClean="0"/>
            <a:t>(Slide #14 TelekomCLOUD)</a:t>
          </a:r>
          <a:endParaRPr lang="de-DE" sz="1200" dirty="0"/>
        </a:p>
      </dgm:t>
    </dgm:pt>
    <dgm:pt modelId="{AFC531B3-61FD-466C-8689-1F17E9D8337A}" type="parTrans" cxnId="{41E2005D-D3B1-42D3-AF72-10EF80C2C2F9}">
      <dgm:prSet/>
      <dgm:spPr/>
      <dgm:t>
        <a:bodyPr/>
        <a:lstStyle/>
        <a:p>
          <a:endParaRPr lang="de-DE"/>
        </a:p>
      </dgm:t>
    </dgm:pt>
    <dgm:pt modelId="{AAABDB8A-FBC6-4C26-B225-B3962A602AF9}" type="sibTrans" cxnId="{41E2005D-D3B1-42D3-AF72-10EF80C2C2F9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400" dirty="0" smtClean="0"/>
            <a:t> </a:t>
          </a:r>
          <a:r>
            <a:rPr lang="de-DE" sz="1400" dirty="0" smtClean="0">
              <a:hlinkClick xmlns:r="http://schemas.openxmlformats.org/officeDocument/2006/relationships" r:id="rId9"/>
            </a:rPr>
            <a:t>http://cloud-computing-blog.eu/was-ist-jetzt-eigentlich-cloud-computing/</a:t>
          </a:r>
          <a:r>
            <a:rPr lang="de-DE" sz="1400" dirty="0" smtClean="0"/>
            <a:t> </a:t>
          </a:r>
          <a:endParaRPr lang="de-DE" sz="1400" dirty="0"/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0"/>
            </a:rPr>
            <a:t>https://www.openstack.org/</a:t>
          </a:r>
          <a:r>
            <a:rPr lang="de-DE" sz="1400" dirty="0" smtClean="0"/>
            <a:t> </a:t>
          </a:r>
          <a:endParaRPr lang="de-DE" sz="1400" dirty="0"/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400" b="1" u="sng" dirty="0" smtClean="0"/>
            <a:t>Other Sources : </a:t>
          </a:r>
          <a:r>
            <a:rPr lang="de-DE" sz="1400" dirty="0" smtClean="0"/>
            <a:t>AiolosSystemDescription.pdf; Telekom Small Business Cloud_Refcard for ISVs.pdf   </a:t>
          </a:r>
          <a:endParaRPr lang="de-DE" sz="1400" dirty="0"/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dirty="0" smtClean="0"/>
            <a:t> </a:t>
          </a:r>
          <a:r>
            <a:rPr lang="de-DE" sz="1200" dirty="0" smtClean="0"/>
            <a:t>(Slide #17 Git Runner Logo)</a:t>
          </a:r>
          <a:endParaRPr lang="de-DE" sz="1200" dirty="0"/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ED1E8FE5-B3CC-4746-A612-439F0E282D58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dirty="0" smtClean="0"/>
            <a:t> </a:t>
          </a:r>
          <a:r>
            <a:rPr lang="de-DE" sz="1200" dirty="0" smtClean="0"/>
            <a:t>(Slide #17 Deploy Logo)</a:t>
          </a:r>
          <a:endParaRPr lang="de-DE" sz="1400" dirty="0"/>
        </a:p>
      </dgm:t>
    </dgm:pt>
    <dgm:pt modelId="{21D39813-6068-4A24-ABCC-FB15D666C27C}" type="parTrans" cxnId="{882662A4-AE22-4A7B-828D-94CBE8E96183}">
      <dgm:prSet/>
      <dgm:spPr/>
      <dgm:t>
        <a:bodyPr/>
        <a:lstStyle/>
        <a:p>
          <a:endParaRPr lang="de-DE"/>
        </a:p>
      </dgm:t>
    </dgm:pt>
    <dgm:pt modelId="{99D86B9B-6672-45FA-BBE8-4C33410258D3}" type="sibTrans" cxnId="{882662A4-AE22-4A7B-828D-94CBE8E96183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dirty="0" smtClean="0"/>
            <a:t> </a:t>
          </a:r>
          <a:r>
            <a:rPr lang="de-DE" sz="1200" dirty="0" smtClean="0"/>
            <a:t>(Slide #17 Developer)</a:t>
          </a:r>
          <a:endParaRPr lang="de-DE" sz="1200" dirty="0"/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dirty="0" smtClean="0"/>
            <a:t> </a:t>
          </a:r>
          <a:r>
            <a:rPr lang="de-DE" sz="1200" dirty="0" smtClean="0"/>
            <a:t>(Slide #17 GitLab Logo)</a:t>
          </a:r>
          <a:endParaRPr lang="de-DE" sz="1200" dirty="0"/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dirty="0" smtClean="0"/>
            <a:t> </a:t>
          </a:r>
          <a:r>
            <a:rPr lang="de-DE" sz="1200" dirty="0" smtClean="0"/>
            <a:t>(Slide #17 cross)</a:t>
          </a:r>
          <a:endParaRPr lang="de-DE" sz="1200" dirty="0"/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E831DD0C-0355-4E5C-AA7D-FE30835990EA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dirty="0" smtClean="0"/>
            <a:t> </a:t>
          </a:r>
          <a:r>
            <a:rPr lang="de-DE" sz="1200" dirty="0" smtClean="0"/>
            <a:t>(Slide #17 hook)</a:t>
          </a:r>
          <a:endParaRPr lang="de-DE" sz="1200" dirty="0"/>
        </a:p>
      </dgm:t>
    </dgm:pt>
    <dgm:pt modelId="{4860F01E-FD83-44A2-A63C-74AC08C2AFE2}" type="parTrans" cxnId="{5AB24BA8-7466-495D-9382-503E1ADC4D10}">
      <dgm:prSet/>
      <dgm:spPr/>
      <dgm:t>
        <a:bodyPr/>
        <a:lstStyle/>
        <a:p>
          <a:endParaRPr lang="de-DE"/>
        </a:p>
      </dgm:t>
    </dgm:pt>
    <dgm:pt modelId="{EB326B6E-3437-4703-95B8-E1FC7BD999BF}" type="sibTrans" cxnId="{5AB24BA8-7466-495D-9382-503E1ADC4D10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dirty="0" smtClean="0"/>
            <a:t> </a:t>
          </a:r>
          <a:r>
            <a:rPr lang="de-DE" sz="1200" dirty="0" smtClean="0"/>
            <a:t>(Slide #19 Background)</a:t>
          </a:r>
          <a:endParaRPr lang="de-DE" sz="1200" dirty="0"/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4532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2168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56E2813-EACF-4854-BDCA-F94E0FC91974}" type="presOf" srcId="{AB8AB2FA-0C03-4ADB-828B-3AA5DB7D1B83}" destId="{135D980B-F227-4000-9869-2D5A8FA31B13}" srcOrd="0" destOrd="3" presId="urn:microsoft.com/office/officeart/2005/8/layout/vList2"/>
    <dgm:cxn modelId="{7B359796-8208-416B-87AB-3ED7681CE617}" type="presOf" srcId="{F14462BD-F46E-4F75-B4C4-7601717293F9}" destId="{BF5A6700-E73A-4C76-AB30-5E258848545C}" srcOrd="0" destOrd="11" presId="urn:microsoft.com/office/officeart/2005/8/layout/vList2"/>
    <dgm:cxn modelId="{C0631AF4-DE6A-4DAD-A72A-2A8839D3686B}" srcId="{26BE7C14-7621-4829-8FDB-F54722BBB351}" destId="{B637715B-D72B-4C51-9342-B785C3306E9C}" srcOrd="2" destOrd="0" parTransId="{459F658B-276C-4085-A8EE-F86DE40E208C}" sibTransId="{128C1576-FD2C-4C69-8090-1C1E12FFDECA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6C4A627B-023E-4540-ADA6-00555FE4741B}" srcId="{26BE7C14-7621-4829-8FDB-F54722BBB351}" destId="{F14462BD-F46E-4F75-B4C4-7601717293F9}" srcOrd="11" destOrd="0" parTransId="{A9EF8551-86B7-4EF6-B7B2-5D5A170EB83F}" sibTransId="{CF5F27EF-70F5-4F6C-BB99-E2483A361F76}"/>
    <dgm:cxn modelId="{284EAF84-120C-49FF-A71E-493BCB5C85F7}" type="presOf" srcId="{C34FF5A3-0623-4FBA-9C19-83FF46932954}" destId="{BF5A6700-E73A-4C76-AB30-5E258848545C}" srcOrd="0" destOrd="5" presId="urn:microsoft.com/office/officeart/2005/8/layout/vList2"/>
    <dgm:cxn modelId="{63166064-2D97-4B3D-BCCB-3A105B7AD3E6}" type="presOf" srcId="{66A47BEE-44D0-440B-B85C-198E7A95CF52}" destId="{135D980B-F227-4000-9869-2D5A8FA31B13}" srcOrd="0" destOrd="0" presId="urn:microsoft.com/office/officeart/2005/8/layout/vList2"/>
    <dgm:cxn modelId="{1E996444-E1E3-4E98-B783-85DD22124600}" srcId="{95A4E54D-3F39-4278-81F6-EA35748A6217}" destId="{2184AAD6-9A2C-4FB3-9A61-3BE58C847A4B}" srcOrd="1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1" destOrd="0" parTransId="{33298F72-C92D-41B7-853A-94FD87E9A124}" sibTransId="{4CBF7E65-7C7D-479E-A620-387C7642F12D}"/>
    <dgm:cxn modelId="{28863114-B43B-4EC7-8C48-B65AC1AD64CE}" type="presOf" srcId="{45ED6F3A-DA35-479A-954B-3B88A6823D5B}" destId="{BF5A6700-E73A-4C76-AB30-5E258848545C}" srcOrd="0" destOrd="13" presId="urn:microsoft.com/office/officeart/2005/8/layout/vList2"/>
    <dgm:cxn modelId="{1B009B9C-6E8B-49E2-8A74-41E49658DBED}" type="presOf" srcId="{73F1E484-4E60-4DC2-9730-BF6E86925CD7}" destId="{BF5A6700-E73A-4C76-AB30-5E258848545C}" srcOrd="0" destOrd="9" presId="urn:microsoft.com/office/officeart/2005/8/layout/vList2"/>
    <dgm:cxn modelId="{94F7B1E3-59A8-470D-8100-AE3B6B567204}" srcId="{26BE7C14-7621-4829-8FDB-F54722BBB351}" destId="{45ED6F3A-DA35-479A-954B-3B88A6823D5B}" srcOrd="13" destOrd="0" parTransId="{8BCC2C7B-9BDC-4B71-B515-C1E0F588A6E3}" sibTransId="{2BA2969C-872A-417A-B3AB-66285E542535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8CCC8B77-6ECA-45AB-910A-29C016B50E17}" type="presOf" srcId="{CABD98BA-5FB0-41C7-839D-4F9AA193A479}" destId="{BF5A6700-E73A-4C76-AB30-5E258848545C}" srcOrd="0" destOrd="6" presId="urn:microsoft.com/office/officeart/2005/8/layout/vList2"/>
    <dgm:cxn modelId="{0D117FFB-0137-4229-B51B-4335023EAC95}" type="presOf" srcId="{E831DD0C-0355-4E5C-AA7D-FE30835990EA}" destId="{BF5A6700-E73A-4C76-AB30-5E258848545C}" srcOrd="0" destOrd="12" presId="urn:microsoft.com/office/officeart/2005/8/layout/vList2"/>
    <dgm:cxn modelId="{882662A4-AE22-4A7B-828D-94CBE8E96183}" srcId="{26BE7C14-7621-4829-8FDB-F54722BBB351}" destId="{ED1E8FE5-B3CC-4746-A612-439F0E282D58}" srcOrd="8" destOrd="0" parTransId="{21D39813-6068-4A24-ABCC-FB15D666C27C}" sibTransId="{99D86B9B-6672-45FA-BBE8-4C33410258D3}"/>
    <dgm:cxn modelId="{AD8E0212-5018-4F4D-BBC4-B61FCF34D9B4}" srcId="{26BE7C14-7621-4829-8FDB-F54722BBB351}" destId="{AC9F85D0-23ED-4CB3-8DE8-BF77519DDDF3}" srcOrd="3" destOrd="0" parTransId="{191FBFE0-9F3C-423E-92D4-0C25E68B60EA}" sibTransId="{A7827B90-875B-4258-9276-C2D591B8D9F7}"/>
    <dgm:cxn modelId="{41E2005D-D3B1-42D3-AF72-10EF80C2C2F9}" srcId="{26BE7C14-7621-4829-8FDB-F54722BBB351}" destId="{CABD98BA-5FB0-41C7-839D-4F9AA193A479}" srcOrd="6" destOrd="0" parTransId="{AFC531B3-61FD-466C-8689-1F17E9D8337A}" sibTransId="{AAABDB8A-FBC6-4C26-B225-B3962A602AF9}"/>
    <dgm:cxn modelId="{305D5B95-666A-49C6-948D-19180F572130}" srcId="{26BE7C14-7621-4829-8FDB-F54722BBB351}" destId="{C34FF5A3-0623-4FBA-9C19-83FF46932954}" srcOrd="5" destOrd="0" parTransId="{FA9F51E1-E9BF-444F-A668-EAC439FE3E78}" sibTransId="{5B43BC6A-DF01-4FDE-BABD-1F03D1D66CF3}"/>
    <dgm:cxn modelId="{B8EA66F7-4995-4177-BFAD-0CA50E7BF74B}" type="presOf" srcId="{ED1E8FE5-B3CC-4746-A612-439F0E282D58}" destId="{BF5A6700-E73A-4C76-AB30-5E258848545C}" srcOrd="0" destOrd="8" presId="urn:microsoft.com/office/officeart/2005/8/layout/vList2"/>
    <dgm:cxn modelId="{0B619950-6E50-41F2-979F-D8FB60701F37}" type="presOf" srcId="{0F8544D6-B935-4371-BEC9-226BD76F45FF}" destId="{BF5A6700-E73A-4C76-AB30-5E258848545C}" srcOrd="0" destOrd="10" presId="urn:microsoft.com/office/officeart/2005/8/layout/vList2"/>
    <dgm:cxn modelId="{5AB24BA8-7466-495D-9382-503E1ADC4D10}" srcId="{26BE7C14-7621-4829-8FDB-F54722BBB351}" destId="{E831DD0C-0355-4E5C-AA7D-FE30835990EA}" srcOrd="12" destOrd="0" parTransId="{4860F01E-FD83-44A2-A63C-74AC08C2AFE2}" sibTransId="{EB326B6E-3437-4703-95B8-E1FC7BD999BF}"/>
    <dgm:cxn modelId="{C85D2BA3-B56B-4582-8D4E-9D8B204F9E59}" type="presOf" srcId="{AD0FE73B-DA94-4EDB-88FB-A46F26CA74E2}" destId="{BF5A6700-E73A-4C76-AB30-5E258848545C}" srcOrd="0" destOrd="0" presId="urn:microsoft.com/office/officeart/2005/8/layout/vList2"/>
    <dgm:cxn modelId="{D17BBCAA-6B20-4F7B-9BF7-2C1BAA2C86F1}" srcId="{95A4E54D-3F39-4278-81F6-EA35748A6217}" destId="{AB8AB2FA-0C03-4ADB-828B-3AA5DB7D1B83}" srcOrd="3" destOrd="0" parTransId="{42C4DCB7-BA3B-4965-A688-630680FB111B}" sibTransId="{511FBC25-1C28-4543-9F02-FC6C38042313}"/>
    <dgm:cxn modelId="{F285BDBD-6E6F-4155-9FEA-82FFD8B10A45}" srcId="{26BE7C14-7621-4829-8FDB-F54722BBB351}" destId="{AD0FE73B-DA94-4EDB-88FB-A46F26CA74E2}" srcOrd="0" destOrd="0" parTransId="{178D5A1A-B9AC-4F66-B0C9-29EA7E4472D7}" sibTransId="{4B9CB043-5036-4E69-A175-5C79465D3593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FAF12C1F-69B6-441D-8CB9-19D6CEB13058}" srcId="{26BE7C14-7621-4829-8FDB-F54722BBB351}" destId="{73F1E484-4E60-4DC2-9730-BF6E86925CD7}" srcOrd="9" destOrd="0" parTransId="{EB1E1E87-F21F-4F53-8F47-F59311033710}" sibTransId="{FD1D2FE1-2C4D-46D4-9C1D-D1D1113608A1}"/>
    <dgm:cxn modelId="{A5DCB8E6-7357-49BD-A36C-36E434CE89C7}" srcId="{95A4E54D-3F39-4278-81F6-EA35748A6217}" destId="{66A47BEE-44D0-440B-B85C-198E7A95CF52}" srcOrd="0" destOrd="0" parTransId="{EDA9556E-EEF3-4B7F-B6AE-F66FD3B23CBC}" sibTransId="{69770DE9-171F-4538-A067-95741B85D405}"/>
    <dgm:cxn modelId="{0217E14D-84D5-44BE-90C1-5692074C3769}" type="presOf" srcId="{2184AAD6-9A2C-4FB3-9A61-3BE58C847A4B}" destId="{135D980B-F227-4000-9869-2D5A8FA31B13}" srcOrd="0" destOrd="1" presId="urn:microsoft.com/office/officeart/2005/8/layout/vList2"/>
    <dgm:cxn modelId="{AAB258C1-7359-4840-846B-CA8B0205C17B}" srcId="{95A4E54D-3F39-4278-81F6-EA35748A6217}" destId="{EA60EFBF-FCBE-447C-BCBC-E04AB5A04182}" srcOrd="2" destOrd="0" parTransId="{A54EF8D3-42EA-4BEB-BB97-F0E4CB87C3D6}" sibTransId="{FA9C2AD3-6F9C-4DDC-98E2-4B5ED7C85FA6}"/>
    <dgm:cxn modelId="{A76663D6-5C71-4111-AFB1-603B3776A2F5}" type="presOf" srcId="{F3E685CF-9490-4511-B061-9C350F7E8C63}" destId="{BF5A6700-E73A-4C76-AB30-5E258848545C}" srcOrd="0" destOrd="1" presId="urn:microsoft.com/office/officeart/2005/8/layout/vList2"/>
    <dgm:cxn modelId="{BBC0533D-2696-4DA4-ABB9-AC2B89BA2428}" type="presOf" srcId="{B637715B-D72B-4C51-9342-B785C3306E9C}" destId="{BF5A6700-E73A-4C76-AB30-5E258848545C}" srcOrd="0" destOrd="2" presId="urn:microsoft.com/office/officeart/2005/8/layout/vList2"/>
    <dgm:cxn modelId="{BC7D76A9-1B3E-4349-BA76-F7D035C09CCA}" type="presOf" srcId="{EA60EFBF-FCBE-447C-BCBC-E04AB5A04182}" destId="{135D980B-F227-4000-9869-2D5A8FA31B13}" srcOrd="0" destOrd="2" presId="urn:microsoft.com/office/officeart/2005/8/layout/vList2"/>
    <dgm:cxn modelId="{BCCCC5CF-164E-4B9B-AD5D-7783753FAB69}" srcId="{26BE7C14-7621-4829-8FDB-F54722BBB351}" destId="{0F8544D6-B935-4371-BEC9-226BD76F45FF}" srcOrd="10" destOrd="0" parTransId="{BF6D8480-AFCC-4AE2-A799-64459CAD80FC}" sibTransId="{2782EFAB-6AD6-47EE-A42A-F2344750832B}"/>
    <dgm:cxn modelId="{9DAEB52A-1612-4427-9BC6-80AC9034B783}" srcId="{26BE7C14-7621-4829-8FDB-F54722BBB351}" destId="{0B24C4BC-DF72-480E-8AB6-A33062368E30}" srcOrd="4" destOrd="0" parTransId="{DD360B71-6DAB-490D-B4ED-D8E5A7019C94}" sibTransId="{9F80740D-813B-4BC7-B009-0F2196BEC139}"/>
    <dgm:cxn modelId="{FD3D13A5-A8DC-4982-BA2B-D4DA2120CFBA}" type="presOf" srcId="{0B24C4BC-DF72-480E-8AB6-A33062368E30}" destId="{BF5A6700-E73A-4C76-AB30-5E258848545C}" srcOrd="0" destOrd="4" presId="urn:microsoft.com/office/officeart/2005/8/layout/vList2"/>
    <dgm:cxn modelId="{155ABE32-D96A-4A65-853F-F07B7AE99934}" type="presOf" srcId="{AC9F85D0-23ED-4CB3-8DE8-BF77519DDDF3}" destId="{BF5A6700-E73A-4C76-AB30-5E258848545C}" srcOrd="0" destOrd="3" presId="urn:microsoft.com/office/officeart/2005/8/layout/vList2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Adriano Perri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ied 2 semester geoecology</a:t>
          </a:r>
          <a:endParaRPr lang="de-DE" dirty="0">
            <a:solidFill>
              <a:schemeClr val="tx1"/>
            </a:solidFill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management assistant in IT systems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2D9C519E-F4B8-482C-9003-418236DEEBFB}" type="presOf" srcId="{D14807FD-294C-4482-91EE-34C09B13669A}" destId="{BCE275B7-D1E9-4183-BABE-507E54E1C931}" srcOrd="0" destOrd="0" presId="urn:microsoft.com/office/officeart/2005/8/layout/chevron1"/>
    <dgm:cxn modelId="{4F49B6C1-9679-4EFE-8409-C371B748834C}" type="presOf" srcId="{EB61DA86-9B86-4759-822E-DA32F7AA073E}" destId="{135DB1F4-89C2-4733-9521-42FD5CECF10C}" srcOrd="0" destOrd="0" presId="urn:microsoft.com/office/officeart/2005/8/layout/chevron1"/>
    <dgm:cxn modelId="{3BFDE228-D2CC-4DB2-BD15-F720ABA14B57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F8D9038E-55E7-4667-B0E6-BB6B19A07D8B}" type="presOf" srcId="{9C869D94-BD20-4CF6-9CAA-58E706B950F6}" destId="{0AECE453-CE2A-473C-BD27-70D00DA5B95C}" srcOrd="0" destOrd="0" presId="urn:microsoft.com/office/officeart/2005/8/layout/chevron1"/>
    <dgm:cxn modelId="{D66026FF-3B84-4DD0-BACD-1E754BA3BEC9}" type="presOf" srcId="{F351D095-D2C1-4F62-A18D-EFB4BA6E2AA9}" destId="{6BF66C9A-92D4-481D-A538-FD1A4E3DC0D5}" srcOrd="0" destOrd="0" presId="urn:microsoft.com/office/officeart/2005/8/layout/chevron1"/>
    <dgm:cxn modelId="{9DA626F8-CE6A-46FD-A0E5-757A7BB33BAC}" type="presParOf" srcId="{0AECE453-CE2A-473C-BD27-70D00DA5B95C}" destId="{135DB1F4-89C2-4733-9521-42FD5CECF10C}" srcOrd="0" destOrd="0" presId="urn:microsoft.com/office/officeart/2005/8/layout/chevron1"/>
    <dgm:cxn modelId="{18B881C4-278F-4012-8055-E9C443FDAD17}" type="presParOf" srcId="{0AECE453-CE2A-473C-BD27-70D00DA5B95C}" destId="{E1C76734-9ABE-473C-AD4C-C4BF49F91E97}" srcOrd="1" destOrd="0" presId="urn:microsoft.com/office/officeart/2005/8/layout/chevron1"/>
    <dgm:cxn modelId="{6F0DAD46-A5B8-4319-A170-7683C4574479}" type="presParOf" srcId="{0AECE453-CE2A-473C-BD27-70D00DA5B95C}" destId="{6BF66C9A-92D4-481D-A538-FD1A4E3DC0D5}" srcOrd="2" destOrd="0" presId="urn:microsoft.com/office/officeart/2005/8/layout/chevron1"/>
    <dgm:cxn modelId="{8AA42CD0-E69F-4445-BFD4-156F1A1B709A}" type="presParOf" srcId="{0AECE453-CE2A-473C-BD27-70D00DA5B95C}" destId="{691CB221-7DD5-49BE-AC21-301798066F30}" srcOrd="3" destOrd="0" presId="urn:microsoft.com/office/officeart/2005/8/layout/chevron1"/>
    <dgm:cxn modelId="{4B1DB4BD-7C1E-48A3-98C6-26ECB85A11B8}" type="presParOf" srcId="{0AECE453-CE2A-473C-BD27-70D00DA5B95C}" destId="{6B5B1B16-1D46-4D7F-892D-7D67FB436452}" srcOrd="4" destOrd="0" presId="urn:microsoft.com/office/officeart/2005/8/layout/chevron1"/>
    <dgm:cxn modelId="{E7525955-AB1F-4A25-8E49-CB4E17DB55FC}" type="presParOf" srcId="{0AECE453-CE2A-473C-BD27-70D00DA5B95C}" destId="{E20E6850-4B52-4A6E-A4B6-B5AE207EA15E}" srcOrd="5" destOrd="0" presId="urn:microsoft.com/office/officeart/2005/8/layout/chevron1"/>
    <dgm:cxn modelId="{6B6CBC0D-DDEE-403F-B940-2846BA2AA7E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Janika Schäfer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1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ystems technician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inished 2015 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with Abitur</a:t>
          </a:r>
          <a:endParaRPr lang="de-DE" dirty="0">
            <a:solidFill>
              <a:schemeClr val="tx1"/>
            </a:solidFill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D48DDB-4253-4B07-B8EE-760CCAFD9928}" type="presOf" srcId="{EB61DA86-9B86-4759-822E-DA32F7AA073E}" destId="{135DB1F4-89C2-4733-9521-42FD5CECF10C}" srcOrd="0" destOrd="0" presId="urn:microsoft.com/office/officeart/2005/8/layout/chevron1"/>
    <dgm:cxn modelId="{B37476C4-57E8-4853-B716-D900D722D658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2E1C02B-CD2D-4294-A24F-49BCEBC193EE}" type="presOf" srcId="{F351D095-D2C1-4F62-A18D-EFB4BA6E2AA9}" destId="{6BF66C9A-92D4-481D-A538-FD1A4E3DC0D5}" srcOrd="0" destOrd="0" presId="urn:microsoft.com/office/officeart/2005/8/layout/chevron1"/>
    <dgm:cxn modelId="{82243885-DEF4-4893-9BA4-BD1213B93D24}" type="presOf" srcId="{D14807FD-294C-4482-91EE-34C09B13669A}" destId="{BCE275B7-D1E9-4183-BABE-507E54E1C931}" srcOrd="0" destOrd="0" presId="urn:microsoft.com/office/officeart/2005/8/layout/chevron1"/>
    <dgm:cxn modelId="{7E4E8321-5F7B-421C-875B-E5860FD8E344}" type="presOf" srcId="{9C869D94-BD20-4CF6-9CAA-58E706B950F6}" destId="{0AECE453-CE2A-473C-BD27-70D00DA5B95C}" srcOrd="0" destOrd="0" presId="urn:microsoft.com/office/officeart/2005/8/layout/chevron1"/>
    <dgm:cxn modelId="{AEF9F011-340B-4B02-9BA5-9F4452F9D0A4}" type="presParOf" srcId="{0AECE453-CE2A-473C-BD27-70D00DA5B95C}" destId="{135DB1F4-89C2-4733-9521-42FD5CECF10C}" srcOrd="0" destOrd="0" presId="urn:microsoft.com/office/officeart/2005/8/layout/chevron1"/>
    <dgm:cxn modelId="{BDBBA430-83AD-48C1-BA55-0391FE2958C5}" type="presParOf" srcId="{0AECE453-CE2A-473C-BD27-70D00DA5B95C}" destId="{E1C76734-9ABE-473C-AD4C-C4BF49F91E97}" srcOrd="1" destOrd="0" presId="urn:microsoft.com/office/officeart/2005/8/layout/chevron1"/>
    <dgm:cxn modelId="{22BB0400-2BF0-4757-9CEB-E18703D1A388}" type="presParOf" srcId="{0AECE453-CE2A-473C-BD27-70D00DA5B95C}" destId="{6BF66C9A-92D4-481D-A538-FD1A4E3DC0D5}" srcOrd="2" destOrd="0" presId="urn:microsoft.com/office/officeart/2005/8/layout/chevron1"/>
    <dgm:cxn modelId="{90D72ABC-C16C-4428-9A7B-47D333BFB165}" type="presParOf" srcId="{0AECE453-CE2A-473C-BD27-70D00DA5B95C}" destId="{691CB221-7DD5-49BE-AC21-301798066F30}" srcOrd="3" destOrd="0" presId="urn:microsoft.com/office/officeart/2005/8/layout/chevron1"/>
    <dgm:cxn modelId="{60506028-4D92-4D9D-9198-5B262BBD65EC}" type="presParOf" srcId="{0AECE453-CE2A-473C-BD27-70D00DA5B95C}" destId="{6B5B1B16-1D46-4D7F-892D-7D67FB436452}" srcOrd="4" destOrd="0" presId="urn:microsoft.com/office/officeart/2005/8/layout/chevron1"/>
    <dgm:cxn modelId="{C8CA94B7-6065-4291-804D-7AA50B77FA92}" type="presParOf" srcId="{0AECE453-CE2A-473C-BD27-70D00DA5B95C}" destId="{E20E6850-4B52-4A6E-A4B6-B5AE207EA15E}" srcOrd="5" destOrd="0" presId="urn:microsoft.com/office/officeart/2005/8/layout/chevron1"/>
    <dgm:cxn modelId="{CDB31BBB-A1A0-47E5-97E6-FDD8264D9AFC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Oliver Klippel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pecialist for systemintegration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dirty="0">
            <a:solidFill>
              <a:schemeClr val="tx1"/>
            </a:solidFill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A143AD0D-567A-424E-A9B7-B4E3762FCB79}" type="presOf" srcId="{9C869D94-BD20-4CF6-9CAA-58E706B950F6}" destId="{0AECE453-CE2A-473C-BD27-70D00DA5B95C}" srcOrd="0" destOrd="0" presId="urn:microsoft.com/office/officeart/2005/8/layout/chevron1"/>
    <dgm:cxn modelId="{7E9777B5-C06D-442C-B6D6-7DE816D901E8}" type="presOf" srcId="{544A2B27-F62F-4504-85C1-82D7732CCB0A}" destId="{6B5B1B16-1D46-4D7F-892D-7D67FB436452}" srcOrd="0" destOrd="0" presId="urn:microsoft.com/office/officeart/2005/8/layout/chevron1"/>
    <dgm:cxn modelId="{4D3F945D-855F-4D0E-8781-6D0082BF286B}" type="presOf" srcId="{F351D095-D2C1-4F62-A18D-EFB4BA6E2AA9}" destId="{6BF66C9A-92D4-481D-A538-FD1A4E3DC0D5}" srcOrd="0" destOrd="0" presId="urn:microsoft.com/office/officeart/2005/8/layout/chevron1"/>
    <dgm:cxn modelId="{626D54E0-3ED8-403B-8A92-EE324673C1C2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C781767-25B4-4804-AD58-52E4747EC3FA}" type="presOf" srcId="{EB61DA86-9B86-4759-822E-DA32F7AA073E}" destId="{135DB1F4-89C2-4733-9521-42FD5CECF10C}" srcOrd="0" destOrd="0" presId="urn:microsoft.com/office/officeart/2005/8/layout/chevron1"/>
    <dgm:cxn modelId="{4FB2604F-1B48-4249-B397-8BBC7206F3A5}" type="presParOf" srcId="{0AECE453-CE2A-473C-BD27-70D00DA5B95C}" destId="{135DB1F4-89C2-4733-9521-42FD5CECF10C}" srcOrd="0" destOrd="0" presId="urn:microsoft.com/office/officeart/2005/8/layout/chevron1"/>
    <dgm:cxn modelId="{2975F9C0-2327-43AA-B9A8-3B9CE5894475}" type="presParOf" srcId="{0AECE453-CE2A-473C-BD27-70D00DA5B95C}" destId="{E1C76734-9ABE-473C-AD4C-C4BF49F91E97}" srcOrd="1" destOrd="0" presId="urn:microsoft.com/office/officeart/2005/8/layout/chevron1"/>
    <dgm:cxn modelId="{566F9869-E266-4952-BAC4-662A8445DC6E}" type="presParOf" srcId="{0AECE453-CE2A-473C-BD27-70D00DA5B95C}" destId="{6BF66C9A-92D4-481D-A538-FD1A4E3DC0D5}" srcOrd="2" destOrd="0" presId="urn:microsoft.com/office/officeart/2005/8/layout/chevron1"/>
    <dgm:cxn modelId="{278B7E39-4D0E-445E-BFE4-1E65F47003BA}" type="presParOf" srcId="{0AECE453-CE2A-473C-BD27-70D00DA5B95C}" destId="{691CB221-7DD5-49BE-AC21-301798066F30}" srcOrd="3" destOrd="0" presId="urn:microsoft.com/office/officeart/2005/8/layout/chevron1"/>
    <dgm:cxn modelId="{4BDEF530-C756-45C0-A4D5-5820B6E0245C}" type="presParOf" srcId="{0AECE453-CE2A-473C-BD27-70D00DA5B95C}" destId="{6B5B1B16-1D46-4D7F-892D-7D67FB436452}" srcOrd="4" destOrd="0" presId="urn:microsoft.com/office/officeart/2005/8/layout/chevron1"/>
    <dgm:cxn modelId="{1E56B46D-E19F-40BB-9D6B-45D9563D47ED}" type="presParOf" srcId="{0AECE453-CE2A-473C-BD27-70D00DA5B95C}" destId="{E20E6850-4B52-4A6E-A4B6-B5AE207EA15E}" srcOrd="5" destOrd="0" presId="urn:microsoft.com/office/officeart/2005/8/layout/chevron1"/>
    <dgm:cxn modelId="{12096015-32B2-4159-A265-11B9AFB23C9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8F8DB4-BCD9-4615-8385-1D3472B2E4F3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888CA46-11B6-4D63-A8F8-29430E5DD5E4}" type="presOf" srcId="{F351D095-D2C1-4F62-A18D-EFB4BA6E2AA9}" destId="{6BF66C9A-92D4-481D-A538-FD1A4E3DC0D5}" srcOrd="0" destOrd="0" presId="urn:microsoft.com/office/officeart/2005/8/layout/chevron1"/>
    <dgm:cxn modelId="{FCE2A699-114B-4F48-BFC5-A32E35DF86BD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1B5D096-B112-499A-A54B-E38BE9A0627B}" type="presOf" srcId="{544A2B27-F62F-4504-85C1-82D7732CCB0A}" destId="{6B5B1B16-1D46-4D7F-892D-7D67FB436452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4100D793-FA05-43A9-A3AF-563AD6D59A79}" type="presOf" srcId="{EB61DA86-9B86-4759-822E-DA32F7AA073E}" destId="{135DB1F4-89C2-4733-9521-42FD5CECF10C}" srcOrd="0" destOrd="0" presId="urn:microsoft.com/office/officeart/2005/8/layout/chevron1"/>
    <dgm:cxn modelId="{BA9855BA-74AD-4CD6-823B-636DD8190AEA}" type="presParOf" srcId="{0AECE453-CE2A-473C-BD27-70D00DA5B95C}" destId="{135DB1F4-89C2-4733-9521-42FD5CECF10C}" srcOrd="0" destOrd="0" presId="urn:microsoft.com/office/officeart/2005/8/layout/chevron1"/>
    <dgm:cxn modelId="{C725BE56-56C4-47E8-AFB0-ED5ACCE2FE07}" type="presParOf" srcId="{0AECE453-CE2A-473C-BD27-70D00DA5B95C}" destId="{E1C76734-9ABE-473C-AD4C-C4BF49F91E97}" srcOrd="1" destOrd="0" presId="urn:microsoft.com/office/officeart/2005/8/layout/chevron1"/>
    <dgm:cxn modelId="{6A7522CA-56EF-4DBD-B439-1C40526B8B7B}" type="presParOf" srcId="{0AECE453-CE2A-473C-BD27-70D00DA5B95C}" destId="{6BF66C9A-92D4-481D-A538-FD1A4E3DC0D5}" srcOrd="2" destOrd="0" presId="urn:microsoft.com/office/officeart/2005/8/layout/chevron1"/>
    <dgm:cxn modelId="{6A29DCB8-316D-4B36-80B7-93702032AFFE}" type="presParOf" srcId="{0AECE453-CE2A-473C-BD27-70D00DA5B95C}" destId="{691CB221-7DD5-49BE-AC21-301798066F30}" srcOrd="3" destOrd="0" presId="urn:microsoft.com/office/officeart/2005/8/layout/chevron1"/>
    <dgm:cxn modelId="{490B64B4-8FFF-4D55-95B0-1722BC5EAF12}" type="presParOf" srcId="{0AECE453-CE2A-473C-BD27-70D00DA5B95C}" destId="{6B5B1B16-1D46-4D7F-892D-7D67FB436452}" srcOrd="4" destOrd="0" presId="urn:microsoft.com/office/officeart/2005/8/layout/chevron1"/>
    <dgm:cxn modelId="{DF36F7E3-1322-4068-BEDC-35C7C12D6C83}" type="presParOf" srcId="{0AECE453-CE2A-473C-BD27-70D00DA5B95C}" destId="{E20E6850-4B52-4A6E-A4B6-B5AE207EA15E}" srcOrd="5" destOrd="0" presId="urn:microsoft.com/office/officeart/2005/8/layout/chevron1"/>
    <dgm:cxn modelId="{491FFF50-AB2B-439B-A7BC-0ABE3B1998C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2136296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1487798"/>
        <a:ext cx="24522" cy="4904"/>
      </dsp:txXfrm>
    </dsp:sp>
    <dsp:sp modelId="{6031514D-EA9E-4EF4-85F7-3C6A74196969}">
      <dsp:nvSpPr>
        <dsp:cNvPr id="0" name=""/>
        <dsp:cNvSpPr/>
      </dsp:nvSpPr>
      <dsp:spPr>
        <a:xfrm>
          <a:off x="5664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Get An Overview</a:t>
          </a:r>
          <a:endParaRPr lang="de-DE" sz="2900" kern="1200" dirty="0"/>
        </a:p>
      </dsp:txBody>
      <dsp:txXfrm>
        <a:off x="5664" y="850520"/>
        <a:ext cx="2132431" cy="1279458"/>
      </dsp:txXfrm>
    </dsp:sp>
    <dsp:sp modelId="{E308D8D5-E38F-4A9D-9D1A-9015B5567D72}">
      <dsp:nvSpPr>
        <dsp:cNvPr id="0" name=""/>
        <dsp:cNvSpPr/>
      </dsp:nvSpPr>
      <dsp:spPr>
        <a:xfrm>
          <a:off x="4759187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1487798"/>
        <a:ext cx="24522" cy="4904"/>
      </dsp:txXfrm>
    </dsp:sp>
    <dsp:sp modelId="{13459AEB-C7B5-4B38-80A7-C9867B3EB642}">
      <dsp:nvSpPr>
        <dsp:cNvPr id="0" name=""/>
        <dsp:cNvSpPr/>
      </dsp:nvSpPr>
      <dsp:spPr>
        <a:xfrm>
          <a:off x="2628555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DevStack As Testplatform</a:t>
          </a:r>
          <a:endParaRPr lang="de-DE" sz="2900" kern="1200" dirty="0"/>
        </a:p>
      </dsp:txBody>
      <dsp:txXfrm>
        <a:off x="2628555" y="850520"/>
        <a:ext cx="2132431" cy="1279458"/>
      </dsp:txXfrm>
    </dsp:sp>
    <dsp:sp modelId="{BC2709E5-B21A-451B-9FA3-4F70E2E5BFB1}">
      <dsp:nvSpPr>
        <dsp:cNvPr id="0" name=""/>
        <dsp:cNvSpPr/>
      </dsp:nvSpPr>
      <dsp:spPr>
        <a:xfrm>
          <a:off x="1071880" y="2128179"/>
          <a:ext cx="5245781" cy="459859"/>
        </a:xfrm>
        <a:custGeom>
          <a:avLst/>
          <a:gdLst/>
          <a:ahLst/>
          <a:cxnLst/>
          <a:rect l="0" t="0" r="0" b="0"/>
          <a:pathLst>
            <a:path>
              <a:moveTo>
                <a:pt x="5245781" y="0"/>
              </a:moveTo>
              <a:lnTo>
                <a:pt x="5245781" y="247029"/>
              </a:lnTo>
              <a:lnTo>
                <a:pt x="0" y="247029"/>
              </a:lnTo>
              <a:lnTo>
                <a:pt x="0" y="45985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3563055" y="2355657"/>
        <a:ext cx="263432" cy="4904"/>
      </dsp:txXfrm>
    </dsp:sp>
    <dsp:sp modelId="{8EDD94B1-7527-400A-BF72-5A0A9D075471}">
      <dsp:nvSpPr>
        <dsp:cNvPr id="0" name=""/>
        <dsp:cNvSpPr/>
      </dsp:nvSpPr>
      <dsp:spPr>
        <a:xfrm>
          <a:off x="5251446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Setting up DevStack</a:t>
          </a:r>
          <a:endParaRPr lang="de-DE" sz="2900" kern="1200" dirty="0"/>
        </a:p>
      </dsp:txBody>
      <dsp:txXfrm>
        <a:off x="5251446" y="850520"/>
        <a:ext cx="2132431" cy="1279458"/>
      </dsp:txXfrm>
    </dsp:sp>
    <dsp:sp modelId="{7B9E48F2-E3EE-46B1-81D6-C925E0C39611}">
      <dsp:nvSpPr>
        <dsp:cNvPr id="0" name=""/>
        <dsp:cNvSpPr/>
      </dsp:nvSpPr>
      <dsp:spPr>
        <a:xfrm>
          <a:off x="2136296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3257716"/>
        <a:ext cx="24522" cy="4904"/>
      </dsp:txXfrm>
    </dsp:sp>
    <dsp:sp modelId="{CE03B5CE-F3B0-4A17-9638-C582A1BB8AC4}">
      <dsp:nvSpPr>
        <dsp:cNvPr id="0" name=""/>
        <dsp:cNvSpPr/>
      </dsp:nvSpPr>
      <dsp:spPr>
        <a:xfrm>
          <a:off x="5664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Create Tenant</a:t>
          </a:r>
        </a:p>
      </dsp:txBody>
      <dsp:txXfrm>
        <a:off x="5664" y="2620439"/>
        <a:ext cx="2132431" cy="1279458"/>
      </dsp:txXfrm>
    </dsp:sp>
    <dsp:sp modelId="{BDCB6C76-0C40-42F5-B0EF-FB12DF684CD1}">
      <dsp:nvSpPr>
        <dsp:cNvPr id="0" name=""/>
        <dsp:cNvSpPr/>
      </dsp:nvSpPr>
      <dsp:spPr>
        <a:xfrm>
          <a:off x="4759187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3257716"/>
        <a:ext cx="24522" cy="4904"/>
      </dsp:txXfrm>
    </dsp:sp>
    <dsp:sp modelId="{E16655F4-9D8B-458E-BE79-35E88E622DDB}">
      <dsp:nvSpPr>
        <dsp:cNvPr id="0" name=""/>
        <dsp:cNvSpPr/>
      </dsp:nvSpPr>
      <dsp:spPr>
        <a:xfrm>
          <a:off x="2628555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Automatic Rollout</a:t>
          </a:r>
          <a:endParaRPr lang="de-DE" sz="2900" kern="1200" dirty="0"/>
        </a:p>
      </dsp:txBody>
      <dsp:txXfrm>
        <a:off x="2628555" y="2620439"/>
        <a:ext cx="2132431" cy="1279458"/>
      </dsp:txXfrm>
    </dsp:sp>
    <dsp:sp modelId="{E896A7BE-2FA2-4FC1-B447-31BB37B68D5E}">
      <dsp:nvSpPr>
        <dsp:cNvPr id="0" name=""/>
        <dsp:cNvSpPr/>
      </dsp:nvSpPr>
      <dsp:spPr>
        <a:xfrm>
          <a:off x="5251446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Install Wordpress</a:t>
          </a:r>
          <a:endParaRPr lang="de-DE" sz="2900" kern="1200" dirty="0"/>
        </a:p>
      </dsp:txBody>
      <dsp:txXfrm>
        <a:off x="5251446" y="2620439"/>
        <a:ext cx="2132431" cy="1279458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94570A6-624E-4647-99B4-6200FB81373D}">
      <dsp:nvSpPr>
        <dsp:cNvPr id="0" name=""/>
        <dsp:cNvSpPr/>
      </dsp:nvSpPr>
      <dsp:spPr>
        <a:xfrm rot="16200000">
          <a:off x="439857" y="-439857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16200000">
        <a:off x="714415" y="-714415"/>
        <a:ext cx="1647344" cy="3076175"/>
      </dsp:txXfrm>
    </dsp:sp>
    <dsp:sp modelId="{6366065D-0F5C-4109-8B1D-4C58D64EB1DD}">
      <dsp:nvSpPr>
        <dsp:cNvPr id="0" name=""/>
        <dsp:cNvSpPr/>
      </dsp:nvSpPr>
      <dsp:spPr>
        <a:xfrm>
          <a:off x="3076175" y="0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</a:endParaRPr>
        </a:p>
      </dsp:txBody>
      <dsp:txXfrm>
        <a:off x="3076175" y="0"/>
        <a:ext cx="3076175" cy="1647344"/>
      </dsp:txXfrm>
    </dsp:sp>
    <dsp:sp modelId="{62A83927-BD7C-46FF-8527-D4B59C3E881F}">
      <dsp:nvSpPr>
        <dsp:cNvPr id="0" name=""/>
        <dsp:cNvSpPr/>
      </dsp:nvSpPr>
      <dsp:spPr>
        <a:xfrm rot="10800000">
          <a:off x="0" y="2196459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  <a:cs typeface="Arial" pitchFamily="34" charset="0"/>
          </a:endParaRPr>
        </a:p>
      </dsp:txBody>
      <dsp:txXfrm rot="10800000">
        <a:off x="0" y="2745574"/>
        <a:ext cx="3076175" cy="1647344"/>
      </dsp:txXfrm>
    </dsp:sp>
    <dsp:sp modelId="{2681E340-BC23-49F2-8282-021B779DAD63}">
      <dsp:nvSpPr>
        <dsp:cNvPr id="0" name=""/>
        <dsp:cNvSpPr/>
      </dsp:nvSpPr>
      <dsp:spPr>
        <a:xfrm rot="5400000">
          <a:off x="3516032" y="1756601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5400000">
        <a:off x="3790590" y="2031159"/>
        <a:ext cx="1647344" cy="3076175"/>
      </dsp:txXfrm>
    </dsp:sp>
    <dsp:sp modelId="{A1E1233F-6405-4070-9D0C-9D6D06009224}">
      <dsp:nvSpPr>
        <dsp:cNvPr id="0" name=""/>
        <dsp:cNvSpPr/>
      </dsp:nvSpPr>
      <dsp:spPr>
        <a:xfrm>
          <a:off x="2153322" y="1647344"/>
          <a:ext cx="1845705" cy="1098229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kern="1200" dirty="0">
            <a:solidFill>
              <a:schemeClr val="bg1"/>
            </a:solidFill>
            <a:latin typeface="TeleGrotesk Headline" pitchFamily="2" charset="0"/>
          </a:endParaRPr>
        </a:p>
      </dsp:txBody>
      <dsp:txXfrm>
        <a:off x="2153322" y="1647344"/>
        <a:ext cx="1845705" cy="1098229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2708423" y="-860907"/>
          <a:ext cx="780854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vOps goals</a:t>
          </a:r>
          <a:endParaRPr lang="de-DE" sz="1600" kern="1200" dirty="0"/>
        </a:p>
      </dsp:txBody>
      <dsp:txXfrm rot="5400000">
        <a:off x="2708423" y="-860907"/>
        <a:ext cx="780854" cy="2916565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640567" cy="11929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Introduction</a:t>
          </a:r>
          <a:endParaRPr lang="de-DE" sz="2000" kern="1200" dirty="0"/>
        </a:p>
      </dsp:txBody>
      <dsp:txXfrm>
        <a:off x="0" y="0"/>
        <a:ext cx="1640567" cy="1192929"/>
      </dsp:txXfrm>
    </dsp:sp>
    <dsp:sp modelId="{EE9E695F-4BC6-419D-BDAC-FC9F0A0DDD23}">
      <dsp:nvSpPr>
        <dsp:cNvPr id="0" name=""/>
        <dsp:cNvSpPr/>
      </dsp:nvSpPr>
      <dsp:spPr>
        <a:xfrm rot="5400000">
          <a:off x="2496571" y="626565"/>
          <a:ext cx="1204558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eatur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Software Overview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Command lin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Key Terms</a:t>
          </a:r>
          <a:endParaRPr lang="de-DE" sz="1600" kern="1200" dirty="0"/>
        </a:p>
      </dsp:txBody>
      <dsp:txXfrm rot="5400000">
        <a:off x="2496571" y="626565"/>
        <a:ext cx="1204558" cy="2916565"/>
      </dsp:txXfrm>
    </dsp:sp>
    <dsp:sp modelId="{A257B72E-F754-444C-B866-6FAF8336919B}">
      <dsp:nvSpPr>
        <dsp:cNvPr id="0" name=""/>
        <dsp:cNvSpPr/>
      </dsp:nvSpPr>
      <dsp:spPr>
        <a:xfrm>
          <a:off x="0" y="1278057"/>
          <a:ext cx="1640567" cy="1613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OpenStack</a:t>
          </a:r>
          <a:endParaRPr lang="de-DE" sz="2000" kern="1200" dirty="0"/>
        </a:p>
      </dsp:txBody>
      <dsp:txXfrm>
        <a:off x="0" y="1278057"/>
        <a:ext cx="1640567" cy="1613580"/>
      </dsp:txXfrm>
    </dsp:sp>
    <dsp:sp modelId="{7C17F7B8-EB0F-4438-9B5F-C6AF959C98AD}">
      <dsp:nvSpPr>
        <dsp:cNvPr id="0" name=""/>
        <dsp:cNvSpPr/>
      </dsp:nvSpPr>
      <dsp:spPr>
        <a:xfrm rot="5400000">
          <a:off x="2685643" y="2114779"/>
          <a:ext cx="826413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ployment</a:t>
          </a:r>
          <a:endParaRPr lang="de-DE" sz="1600" kern="1200" dirty="0"/>
        </a:p>
      </dsp:txBody>
      <dsp:txXfrm rot="5400000">
        <a:off x="2685643" y="2114779"/>
        <a:ext cx="826413" cy="2916565"/>
      </dsp:txXfrm>
    </dsp:sp>
    <dsp:sp modelId="{6F9362EE-2ECA-4FA3-A6AD-C9543318F45F}">
      <dsp:nvSpPr>
        <dsp:cNvPr id="0" name=""/>
        <dsp:cNvSpPr/>
      </dsp:nvSpPr>
      <dsp:spPr>
        <a:xfrm>
          <a:off x="0" y="2975856"/>
          <a:ext cx="1640567" cy="119441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TelekomCLOUD</a:t>
          </a:r>
          <a:endParaRPr lang="de-DE" sz="1800" kern="1200" dirty="0"/>
        </a:p>
      </dsp:txBody>
      <dsp:txXfrm>
        <a:off x="0" y="2975856"/>
        <a:ext cx="1640567" cy="1194411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3021977" y="-1443030"/>
          <a:ext cx="747368" cy="387654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Name : Frank Kloeker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rom : Berlin</a:t>
          </a:r>
          <a:endParaRPr lang="de-DE" sz="1600" kern="1200" dirty="0"/>
        </a:p>
      </dsp:txBody>
      <dsp:txXfrm rot="5400000">
        <a:off x="3021977" y="-1443030"/>
        <a:ext cx="747368" cy="3876547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457134" cy="989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Person</a:t>
          </a:r>
          <a:endParaRPr lang="de-DE" sz="2400" kern="1200" dirty="0"/>
        </a:p>
      </dsp:txBody>
      <dsp:txXfrm>
        <a:off x="0" y="0"/>
        <a:ext cx="1457134" cy="989580"/>
      </dsp:txXfrm>
    </dsp:sp>
    <dsp:sp modelId="{EE9E695F-4BC6-419D-BDAC-FC9F0A0DDD23}">
      <dsp:nvSpPr>
        <dsp:cNvPr id="0" name=""/>
        <dsp:cNvSpPr/>
      </dsp:nvSpPr>
      <dsp:spPr>
        <a:xfrm rot="5400000">
          <a:off x="2787108" y="-107008"/>
          <a:ext cx="1220950" cy="387289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27 years of experience in Operation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10 years Examiner on Chamber of Commerce and Industry </a:t>
          </a:r>
          <a:endParaRPr lang="de-DE" sz="1600" kern="1200" dirty="0"/>
        </a:p>
      </dsp:txBody>
      <dsp:txXfrm rot="5400000">
        <a:off x="2787108" y="-107008"/>
        <a:ext cx="1220950" cy="3872890"/>
      </dsp:txXfrm>
    </dsp:sp>
    <dsp:sp modelId="{A257B72E-F754-444C-B866-6FAF8336919B}">
      <dsp:nvSpPr>
        <dsp:cNvPr id="0" name=""/>
        <dsp:cNvSpPr/>
      </dsp:nvSpPr>
      <dsp:spPr>
        <a:xfrm>
          <a:off x="253" y="1066342"/>
          <a:ext cx="1460885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Education</a:t>
          </a:r>
          <a:endParaRPr lang="de-DE" sz="2400" kern="1200" dirty="0"/>
        </a:p>
      </dsp:txBody>
      <dsp:txXfrm>
        <a:off x="253" y="1066342"/>
        <a:ext cx="1460885" cy="1526188"/>
      </dsp:txXfrm>
    </dsp:sp>
    <dsp:sp modelId="{7C17F7B8-EB0F-4438-9B5F-C6AF959C98AD}">
      <dsp:nvSpPr>
        <dsp:cNvPr id="0" name=""/>
        <dsp:cNvSpPr/>
      </dsp:nvSpPr>
      <dsp:spPr>
        <a:xfrm rot="5400000">
          <a:off x="2789789" y="1498434"/>
          <a:ext cx="1220950" cy="386700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Applicationmanagement for Cloud hosting platform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personal point of contact for Apprentices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Company : Deutsche Telekom AG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400" kern="1200" dirty="0">
            <a:solidFill>
              <a:schemeClr val="tx1"/>
            </a:solidFill>
          </a:endParaRPr>
        </a:p>
      </dsp:txBody>
      <dsp:txXfrm rot="5400000">
        <a:off x="2789789" y="1498434"/>
        <a:ext cx="1220950" cy="3867000"/>
      </dsp:txXfrm>
    </dsp:sp>
    <dsp:sp modelId="{6F9362EE-2ECA-4FA3-A6AD-C9543318F45F}">
      <dsp:nvSpPr>
        <dsp:cNvPr id="0" name=""/>
        <dsp:cNvSpPr/>
      </dsp:nvSpPr>
      <dsp:spPr>
        <a:xfrm>
          <a:off x="253" y="2668840"/>
          <a:ext cx="1466511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Today</a:t>
          </a:r>
          <a:endParaRPr lang="de-DE" sz="2400" kern="1200" dirty="0"/>
        </a:p>
      </dsp:txBody>
      <dsp:txXfrm>
        <a:off x="253" y="2668840"/>
        <a:ext cx="1466511" cy="1526188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1570"/>
          <a:ext cx="8253454" cy="37102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Informations</a:t>
          </a:r>
          <a:endParaRPr lang="de-DE" sz="2000" kern="1200" dirty="0">
            <a:solidFill>
              <a:schemeClr val="bg1"/>
            </a:solidFill>
          </a:endParaRPr>
        </a:p>
      </dsp:txBody>
      <dsp:txXfrm>
        <a:off x="0" y="1570"/>
        <a:ext cx="8253454" cy="371022"/>
      </dsp:txXfrm>
    </dsp:sp>
    <dsp:sp modelId="{135D980B-F227-4000-9869-2D5A8FA31B13}">
      <dsp:nvSpPr>
        <dsp:cNvPr id="0" name=""/>
        <dsp:cNvSpPr/>
      </dsp:nvSpPr>
      <dsp:spPr>
        <a:xfrm>
          <a:off x="0" y="372592"/>
          <a:ext cx="8253454" cy="10114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"/>
            </a:rPr>
            <a:t>https://www.openstack.or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/>
            <a:t> </a:t>
          </a:r>
          <a:r>
            <a:rPr lang="de-DE" sz="1400" kern="1200" dirty="0" smtClean="0"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b="1" u="sng" kern="1200" dirty="0" smtClean="0"/>
            <a:t>Other Sources : </a:t>
          </a:r>
          <a:r>
            <a:rPr lang="de-DE" sz="1400" kern="1200" dirty="0" smtClean="0"/>
            <a:t>AiolosSystemDescription.pdf; Telekom Small Business Cloud_Refcard for ISVs.pdf   </a:t>
          </a:r>
          <a:endParaRPr lang="de-DE" sz="1400" kern="1200" dirty="0"/>
        </a:p>
      </dsp:txBody>
      <dsp:txXfrm>
        <a:off x="0" y="372592"/>
        <a:ext cx="8253454" cy="1011481"/>
      </dsp:txXfrm>
    </dsp:sp>
    <dsp:sp modelId="{003283A4-BBAE-49F6-A32A-13D1CE661B99}">
      <dsp:nvSpPr>
        <dsp:cNvPr id="0" name=""/>
        <dsp:cNvSpPr/>
      </dsp:nvSpPr>
      <dsp:spPr>
        <a:xfrm>
          <a:off x="0" y="1384073"/>
          <a:ext cx="8253454" cy="34520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ictures</a:t>
          </a:r>
          <a:endParaRPr lang="de-DE" sz="2800" kern="1200" dirty="0">
            <a:solidFill>
              <a:schemeClr val="bg1"/>
            </a:solidFill>
          </a:endParaRPr>
        </a:p>
      </dsp:txBody>
      <dsp:txXfrm>
        <a:off x="0" y="1384073"/>
        <a:ext cx="8253454" cy="345202"/>
      </dsp:txXfrm>
    </dsp:sp>
    <dsp:sp modelId="{BF5A6700-E73A-4C76-AB30-5E258848545C}">
      <dsp:nvSpPr>
        <dsp:cNvPr id="0" name=""/>
        <dsp:cNvSpPr/>
      </dsp:nvSpPr>
      <dsp:spPr>
        <a:xfrm>
          <a:off x="0" y="1729276"/>
          <a:ext cx="8253454" cy="26410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400" kern="1200" dirty="0" smtClean="0"/>
            <a:t> </a:t>
          </a:r>
          <a:r>
            <a:rPr lang="de-DE" sz="1200" kern="1200" dirty="0" smtClean="0"/>
            <a:t>( Slide #10 CC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Planning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Office Tool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Creativ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Datacenter Bier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,#1 OpenStack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0"/>
            </a:rPr>
            <a:t>https://cloud.telekom.de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TelekomCLOUD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 Runner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ploy Logo)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veloper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Lab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cros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hook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9 Background)</a:t>
          </a:r>
          <a:endParaRPr lang="de-DE" sz="1200" kern="1200" dirty="0"/>
        </a:p>
      </dsp:txBody>
      <dsp:txXfrm>
        <a:off x="0" y="1729276"/>
        <a:ext cx="8253454" cy="264105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Adriano Perri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ied 2 semester geoecology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management assistant in IT systems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Janika Schäfe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1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ystems technicia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with 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inished 2015 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Oliver Klippel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pecialist for systemintegratio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7913" y="768350"/>
            <a:ext cx="4946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9625" y="846138"/>
            <a:ext cx="54800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327025"/>
            <a:ext cx="8501062" cy="4033838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3768725"/>
            <a:ext cx="8501062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4078287"/>
            <a:ext cx="84963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5158800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8" y="4402138"/>
            <a:ext cx="8510587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3340100"/>
            <a:ext cx="8186737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608975"/>
            <a:ext cx="77364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4402138"/>
            <a:ext cx="8510587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8" y="3340100"/>
            <a:ext cx="8186737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3608974"/>
            <a:ext cx="77364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3608974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5964238"/>
            <a:ext cx="908050" cy="396875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5964238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6432550"/>
            <a:ext cx="4102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openxmlformats.org/officeDocument/2006/relationships/image" Target="../media/image24.jpeg"/><Relationship Id="rId18" Type="http://schemas.openxmlformats.org/officeDocument/2006/relationships/diagramColors" Target="../diagrams/colors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2.xml"/><Relationship Id="rId12" Type="http://schemas.openxmlformats.org/officeDocument/2006/relationships/image" Target="../media/image23.jpeg"/><Relationship Id="rId17" Type="http://schemas.openxmlformats.org/officeDocument/2006/relationships/diagramQuickStyle" Target="../diagrams/quickStyle13.xml"/><Relationship Id="rId2" Type="http://schemas.openxmlformats.org/officeDocument/2006/relationships/notesSlide" Target="../notesSlides/notesSlide9.xml"/><Relationship Id="rId16" Type="http://schemas.openxmlformats.org/officeDocument/2006/relationships/diagramLayout" Target="../diagrams/layout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2.xml"/><Relationship Id="rId11" Type="http://schemas.openxmlformats.org/officeDocument/2006/relationships/image" Target="../media/image22.jpeg"/><Relationship Id="rId5" Type="http://schemas.openxmlformats.org/officeDocument/2006/relationships/diagramLayout" Target="../diagrams/layout12.xml"/><Relationship Id="rId15" Type="http://schemas.openxmlformats.org/officeDocument/2006/relationships/diagramData" Target="../diagrams/data13.xml"/><Relationship Id="rId10" Type="http://schemas.openxmlformats.org/officeDocument/2006/relationships/image" Target="../media/image21.jpeg"/><Relationship Id="rId19" Type="http://schemas.microsoft.com/office/2007/relationships/diagramDrawing" Target="../diagrams/drawing13.xml"/><Relationship Id="rId4" Type="http://schemas.openxmlformats.org/officeDocument/2006/relationships/diagramData" Target="../diagrams/data12.xml"/><Relationship Id="rId9" Type="http://schemas.openxmlformats.org/officeDocument/2006/relationships/image" Target="../media/image13.jpeg"/><Relationship Id="rId1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13" Type="http://schemas.openxmlformats.org/officeDocument/2006/relationships/diagramColors" Target="../diagrams/colors15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4.xml"/><Relationship Id="rId12" Type="http://schemas.openxmlformats.org/officeDocument/2006/relationships/diagramQuickStyle" Target="../diagrams/quickStyle1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4.xml"/><Relationship Id="rId11" Type="http://schemas.openxmlformats.org/officeDocument/2006/relationships/diagramLayout" Target="../diagrams/layout15.xml"/><Relationship Id="rId5" Type="http://schemas.openxmlformats.org/officeDocument/2006/relationships/diagramData" Target="../diagrams/data14.xml"/><Relationship Id="rId10" Type="http://schemas.openxmlformats.org/officeDocument/2006/relationships/diagramData" Target="../diagrams/data15.xml"/><Relationship Id="rId4" Type="http://schemas.openxmlformats.org/officeDocument/2006/relationships/image" Target="../media/image26.jpeg"/><Relationship Id="rId9" Type="http://schemas.microsoft.com/office/2007/relationships/diagramDrawing" Target="../diagrams/drawing14.xml"/><Relationship Id="rId14" Type="http://schemas.microsoft.com/office/2007/relationships/diagramDrawing" Target="../diagrams/drawing15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27.jpeg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openxmlformats.org/officeDocument/2006/relationships/image" Target="../media/image32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image" Target="../media/image31.gif"/><Relationship Id="rId5" Type="http://schemas.openxmlformats.org/officeDocument/2006/relationships/diagramQuickStyle" Target="../diagrams/quickStyle18.xml"/><Relationship Id="rId10" Type="http://schemas.openxmlformats.org/officeDocument/2006/relationships/image" Target="../media/image30.png"/><Relationship Id="rId4" Type="http://schemas.openxmlformats.org/officeDocument/2006/relationships/diagramLayout" Target="../diagrams/layout18.xml"/><Relationship Id="rId9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9.xml"/><Relationship Id="rId13" Type="http://schemas.microsoft.com/office/2007/relationships/diagramDrawing" Target="../diagrams/drawing20.xml"/><Relationship Id="rId3" Type="http://schemas.openxmlformats.org/officeDocument/2006/relationships/image" Target="../media/image34.jpeg"/><Relationship Id="rId7" Type="http://schemas.openxmlformats.org/officeDocument/2006/relationships/diagramColors" Target="../diagrams/colors19.xml"/><Relationship Id="rId12" Type="http://schemas.openxmlformats.org/officeDocument/2006/relationships/diagramColors" Target="../diagrams/colors20.xml"/><Relationship Id="rId2" Type="http://schemas.openxmlformats.org/officeDocument/2006/relationships/slideLayout" Target="../slideLayouts/slideLayout8.xml"/><Relationship Id="rId1" Type="http://schemas.openxmlformats.org/officeDocument/2006/relationships/video" Target="file:///D:\Summit\Create%20a%20tenant.mp4" TargetMode="External"/><Relationship Id="rId6" Type="http://schemas.openxmlformats.org/officeDocument/2006/relationships/diagramQuickStyle" Target="../diagrams/quickStyle19.xml"/><Relationship Id="rId11" Type="http://schemas.openxmlformats.org/officeDocument/2006/relationships/diagramQuickStyle" Target="../diagrams/quickStyle20.xml"/><Relationship Id="rId5" Type="http://schemas.openxmlformats.org/officeDocument/2006/relationships/diagramLayout" Target="../diagrams/layout19.xml"/><Relationship Id="rId10" Type="http://schemas.openxmlformats.org/officeDocument/2006/relationships/diagramLayout" Target="../diagrams/layout20.xml"/><Relationship Id="rId4" Type="http://schemas.openxmlformats.org/officeDocument/2006/relationships/diagramData" Target="../diagrams/data19.xml"/><Relationship Id="rId9" Type="http://schemas.openxmlformats.org/officeDocument/2006/relationships/diagramData" Target="../diagrams/data20.xml"/><Relationship Id="rId1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1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1.xml"/><Relationship Id="rId5" Type="http://schemas.openxmlformats.org/officeDocument/2006/relationships/image" Target="../media/image12.jpeg"/><Relationship Id="rId10" Type="http://schemas.microsoft.com/office/2007/relationships/diagramDrawing" Target="../diagrams/drawing21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Relationship Id="rId1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Relationship Id="rId1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76420"/>
            <a:ext cx="9144000" cy="4566307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8" y="2625121"/>
            <a:ext cx="3124863" cy="587298"/>
          </a:xfrm>
        </p:spPr>
        <p:txBody>
          <a:bodyPr/>
          <a:lstStyle/>
          <a:p>
            <a:pPr algn="ctr"/>
            <a:r>
              <a:rPr lang="de-DE" sz="2800" dirty="0" smtClean="0">
                <a:solidFill>
                  <a:srgbClr val="E20074"/>
                </a:solidFill>
                <a:latin typeface="Tele-GroteskHal" pitchFamily="2" charset="0"/>
              </a:rPr>
              <a:t>Apprentices starting with</a:t>
            </a:r>
            <a:endParaRPr lang="de-DE" sz="2800" dirty="0">
              <a:solidFill>
                <a:srgbClr val="E20074"/>
              </a:solidFill>
              <a:latin typeface="Tele-GroteskHal" pitchFamily="2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622142"/>
            <a:ext cx="9144000" cy="609398"/>
          </a:xfrm>
        </p:spPr>
        <p:txBody>
          <a:bodyPr/>
          <a:lstStyle/>
          <a:p>
            <a:pPr algn="ctr"/>
            <a:r>
              <a:rPr lang="de-DE" sz="4400" dirty="0" smtClean="0">
                <a:solidFill>
                  <a:schemeClr val="bg1">
                    <a:lumMod val="50000"/>
                  </a:schemeClr>
                </a:solidFill>
              </a:rPr>
              <a:t>„Cloud Kindergarten“</a:t>
            </a:r>
            <a:endParaRPr lang="de-DE" sz="4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36542" y="3413777"/>
            <a:ext cx="2309059" cy="2210936"/>
          </a:xfrm>
          <a:prstGeom prst="rect">
            <a:avLst/>
          </a:prstGeom>
          <a:noFill/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3626" y="2683984"/>
            <a:ext cx="2210463" cy="2889881"/>
          </a:xfrm>
          <a:prstGeom prst="rect">
            <a:avLst/>
          </a:prstGeom>
        </p:spPr>
      </p:pic>
      <p:sp>
        <p:nvSpPr>
          <p:cNvPr id="15" name="Plus 14"/>
          <p:cNvSpPr/>
          <p:nvPr/>
        </p:nvSpPr>
        <p:spPr>
          <a:xfrm>
            <a:off x="4110825" y="3729162"/>
            <a:ext cx="906448" cy="842837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1" name="Diagramm 10"/>
          <p:cNvGraphicFramePr/>
          <p:nvPr/>
        </p:nvGraphicFramePr>
        <p:xfrm>
          <a:off x="1524000" y="1068081"/>
          <a:ext cx="6152350" cy="43929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48840" y="3988402"/>
            <a:ext cx="1506633" cy="1422676"/>
          </a:xfrm>
          <a:prstGeom prst="rect">
            <a:avLst/>
          </a:prstGeom>
          <a:noFill/>
        </p:spPr>
      </p:pic>
      <p:pic>
        <p:nvPicPr>
          <p:cNvPr id="357378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017910" y="3394769"/>
            <a:ext cx="1552564" cy="846817"/>
          </a:xfrm>
          <a:prstGeom prst="rect">
            <a:avLst/>
          </a:prstGeom>
          <a:noFill/>
        </p:spPr>
      </p:pic>
      <p:pic>
        <p:nvPicPr>
          <p:cNvPr id="357379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200507" y="4359433"/>
            <a:ext cx="1214585" cy="1032396"/>
          </a:xfrm>
          <a:prstGeom prst="rect">
            <a:avLst/>
          </a:prstGeom>
          <a:noFill/>
        </p:spPr>
      </p:pic>
      <p:pic>
        <p:nvPicPr>
          <p:cNvPr id="357380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56698" y="1166576"/>
            <a:ext cx="1171497" cy="1156854"/>
          </a:xfrm>
          <a:prstGeom prst="rect">
            <a:avLst/>
          </a:prstGeom>
          <a:noFill/>
        </p:spPr>
      </p:pic>
      <p:pic>
        <p:nvPicPr>
          <p:cNvPr id="357381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702527" y="2406903"/>
            <a:ext cx="1770994" cy="617483"/>
          </a:xfrm>
          <a:prstGeom prst="rect">
            <a:avLst/>
          </a:prstGeom>
          <a:noFill/>
        </p:spPr>
      </p:pic>
      <p:pic>
        <p:nvPicPr>
          <p:cNvPr id="357382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726501" y="1206674"/>
            <a:ext cx="1409398" cy="986854"/>
          </a:xfrm>
          <a:prstGeom prst="rect">
            <a:avLst/>
          </a:prstGeom>
          <a:noFill/>
        </p:spPr>
      </p:pic>
      <p:sp>
        <p:nvSpPr>
          <p:cNvPr id="19" name="Pfeil nach rechts 18"/>
          <p:cNvSpPr/>
          <p:nvPr/>
        </p:nvSpPr>
        <p:spPr>
          <a:xfrm>
            <a:off x="4363844" y="4334108"/>
            <a:ext cx="49065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 rot="10800000">
            <a:off x="4354938" y="1781414"/>
            <a:ext cx="47207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17604" y="1209204"/>
            <a:ext cx="3074113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self-management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tools to use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find solutions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discover talen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527718" y="3811281"/>
            <a:ext cx="3059650" cy="1410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how to get on a demanding top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explore new themat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understand relations</a:t>
            </a: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87B6B-6CC7-439C-ABC9-3BFE945B2AFF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25" name="Diagramm 2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2.	TelekomCloud +</a:t>
            </a:r>
            <a:br>
              <a:rPr lang="de-DE" sz="4800" dirty="0" smtClean="0"/>
            </a:br>
            <a:r>
              <a:rPr lang="de-DE" sz="4800" dirty="0" smtClean="0"/>
              <a:t>		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1 Refcard – Overvie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16" name="Pfeil nach rechts 15"/>
          <p:cNvSpPr/>
          <p:nvPr/>
        </p:nvSpPr>
        <p:spPr>
          <a:xfrm>
            <a:off x="4966008" y="2943922"/>
            <a:ext cx="512956" cy="453483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95682" y="5304079"/>
            <a:ext cx="29587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400" dirty="0" smtClean="0">
                <a:latin typeface="Tele-GroteskHal" pitchFamily="2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17065" y="1247775"/>
            <a:ext cx="2816613" cy="3896654"/>
          </a:xfrm>
          <a:prstGeom prst="rect">
            <a:avLst/>
          </a:prstGeom>
          <a:noFill/>
        </p:spPr>
      </p:pic>
      <p:graphicFrame>
        <p:nvGraphicFramePr>
          <p:cNvPr id="15" name="Diagramm 14"/>
          <p:cNvGraphicFramePr/>
          <p:nvPr/>
        </p:nvGraphicFramePr>
        <p:xfrm>
          <a:off x="275062" y="1099632"/>
          <a:ext cx="4557133" cy="4171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D7BDB-404C-4EC5-9F97-60D3D353C590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4" name="Diagramm 13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Services We Us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69793" y="1077330"/>
          <a:ext cx="7404411" cy="4200912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3481017"/>
                <a:gridCol w="3923394"/>
              </a:tblGrid>
              <a:tr h="466768">
                <a:tc>
                  <a:txBody>
                    <a:bodyPr/>
                    <a:lstStyle/>
                    <a:p>
                      <a:r>
                        <a:rPr lang="de-DE" baseline="0" dirty="0" smtClean="0"/>
                        <a:t>Service Name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Function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va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Comput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irtual</a:t>
                      </a:r>
                      <a:r>
                        <a:rPr lang="de-DE" baseline="0" dirty="0" smtClean="0"/>
                        <a:t> Machin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utron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Networking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twork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nder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Block Storag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</a:t>
                      </a:r>
                      <a:r>
                        <a:rPr lang="de-DE" baseline="0" dirty="0" smtClean="0"/>
                        <a:t>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Keystone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dentity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dentity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Glance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mage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mag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bbitMQ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Message Oriented Middlewar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Management</a:t>
                      </a:r>
                      <a:endParaRPr lang="de-D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b="1" dirty="0" smtClean="0"/>
                        <a:t>Razor </a:t>
                      </a:r>
                      <a:r>
                        <a:rPr lang="de-DE" sz="1600" dirty="0" smtClean="0"/>
                        <a:t>(Bare-Metal Provisioning)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Process of Installing an Operating</a:t>
                      </a:r>
                      <a:r>
                        <a:rPr lang="de-DE" baseline="0" dirty="0" smtClean="0"/>
                        <a:t> System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ph S3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bject Storage)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8928-8957-42B5-96BF-87F6E120DDB1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3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</a:t>
            </a:r>
            <a:r>
              <a:rPr lang="de-DE" sz="3200" dirty="0" smtClean="0">
                <a:solidFill>
                  <a:schemeClr val="bg1"/>
                </a:solidFill>
              </a:rPr>
              <a:t>Datacenter</a:t>
            </a:r>
            <a:endParaRPr lang="de-DE" sz="3200" dirty="0">
              <a:solidFill>
                <a:schemeClr val="bg1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A1D9EC0-A949-479C-82A2-E0347736F634}" type="datetime1">
              <a:rPr lang="de-DE" smtClean="0">
                <a:solidFill>
                  <a:schemeClr val="bg1"/>
                </a:solidFill>
              </a:rPr>
              <a:pPr/>
              <a:t>20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/>
              <a:t>– OpenStack Summit 2016 –                       </a:t>
            </a:r>
            <a:r>
              <a:rPr lang="en-US" dirty="0" smtClean="0">
                <a:solidFill>
                  <a:schemeClr val="bg1"/>
                </a:solidFill>
              </a:rPr>
              <a:t>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1101005"/>
            <a:ext cx="4272948" cy="4667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2400" dirty="0" smtClean="0">
                <a:solidFill>
                  <a:srgbClr val="E20074"/>
                </a:solidFill>
                <a:latin typeface="Tele-GroteskHal" pitchFamily="2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Pfeil nach rechts 16"/>
          <p:cNvSpPr/>
          <p:nvPr/>
        </p:nvSpPr>
        <p:spPr>
          <a:xfrm>
            <a:off x="215153" y="4818202"/>
            <a:ext cx="307361" cy="337785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17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1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1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3.	OpenStack in</a:t>
            </a:r>
            <a:br>
              <a:rPr lang="de-DE" sz="4800" dirty="0" smtClean="0"/>
            </a:br>
            <a:r>
              <a:rPr lang="de-DE" sz="4800" dirty="0" smtClean="0"/>
              <a:t>		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817760" y="1888272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CF8D1-81D4-44B4-8FD4-7C44CF841D6B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hteck 13"/>
          <p:cNvSpPr/>
          <p:nvPr/>
        </p:nvSpPr>
        <p:spPr>
          <a:xfrm>
            <a:off x="2432779" y="199617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4012035" y="1888890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976951" y="3928948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9913" y="846650"/>
            <a:ext cx="1061049" cy="106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28400" y="1360031"/>
            <a:ext cx="970816" cy="967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Grafik 26" descr="http://copting.de/wp-content/uploads/kreuz-rot.pn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41751" y="4132193"/>
            <a:ext cx="1216324" cy="1388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Grafik 27" descr="http://www.gaestezimmer-hagen.de/images/haken_gruen.gif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005711" y="4444384"/>
            <a:ext cx="570018" cy="57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612997" y="3746807"/>
            <a:ext cx="2007218" cy="15834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386396" y="4351253"/>
            <a:ext cx="1062798" cy="1069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423643" y="2884448"/>
            <a:ext cx="2181919" cy="1494264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620215" y="4419601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2029524" y="2386360"/>
            <a:ext cx="1982511" cy="618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616606" y="2885066"/>
            <a:ext cx="1311" cy="86174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Grafik 59" descr="icon-payroll1-300x300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36687" y="3423712"/>
            <a:ext cx="854090" cy="854090"/>
          </a:xfrm>
          <a:prstGeom prst="rect">
            <a:avLst/>
          </a:prstGeom>
        </p:spPr>
      </p:pic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3.1 OPenStack in Practice – Ci/CD in Git </a:t>
            </a:r>
            <a:endParaRPr lang="de-DE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A1954A6E-D9E1-42C7-8972-4EEDC3DCC721}" type="datetime1">
              <a:rPr lang="de-DE" smtClean="0">
                <a:solidFill>
                  <a:schemeClr val="bg1"/>
                </a:solidFill>
              </a:rPr>
              <a:pPr/>
              <a:t>20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– OpenStack Summit 2016 –                       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7</a:t>
            </a:fld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837560" y="1397000"/>
          <a:ext cx="7399724" cy="4127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333375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3.2 OPenStack in Practice – Video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5" name="Create a tenant.mp4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14"/>
          <a:stretch>
            <a:fillRect/>
          </a:stretch>
        </p:blipFill>
        <p:spPr>
          <a:xfrm>
            <a:off x="1404000" y="1239774"/>
            <a:ext cx="6336000" cy="3960000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1847386" y="1932874"/>
            <a:ext cx="5449228" cy="234423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70000" indent="-27000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4800" dirty="0" err="1" smtClean="0">
                <a:solidFill>
                  <a:schemeClr val="tx2"/>
                </a:solidFill>
              </a:rPr>
              <a:t>Cloud</a:t>
            </a:r>
            <a:r>
              <a:rPr lang="de-DE" sz="4800" dirty="0" smtClean="0">
                <a:solidFill>
                  <a:schemeClr val="tx2"/>
                </a:solidFill>
              </a:rPr>
              <a:t> Kindergarten – </a:t>
            </a:r>
          </a:p>
          <a:p>
            <a:pPr marL="270000" indent="-27000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4800" dirty="0" err="1" smtClean="0">
                <a:solidFill>
                  <a:schemeClr val="tx2"/>
                </a:solidFill>
              </a:rPr>
              <a:t>Creating</a:t>
            </a:r>
            <a:r>
              <a:rPr lang="de-DE" sz="4800" dirty="0" smtClean="0">
                <a:solidFill>
                  <a:schemeClr val="tx2"/>
                </a:solidFill>
              </a:rPr>
              <a:t> a </a:t>
            </a:r>
            <a:r>
              <a:rPr lang="de-DE" sz="4800" dirty="0" err="1" smtClean="0">
                <a:solidFill>
                  <a:schemeClr val="tx2"/>
                </a:solidFill>
              </a:rPr>
              <a:t>tenant</a:t>
            </a:r>
            <a:r>
              <a:rPr lang="de-DE" sz="4800" dirty="0" smtClean="0">
                <a:solidFill>
                  <a:schemeClr val="tx2"/>
                </a:solidFill>
              </a:rPr>
              <a:t> </a:t>
            </a:r>
          </a:p>
          <a:p>
            <a:pPr marL="270000" indent="-27000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4800" dirty="0" err="1" smtClean="0">
                <a:solidFill>
                  <a:schemeClr val="tx2"/>
                </a:solidFill>
              </a:rPr>
              <a:t>with</a:t>
            </a:r>
            <a:r>
              <a:rPr lang="de-DE" sz="4800" dirty="0" smtClean="0">
                <a:solidFill>
                  <a:schemeClr val="tx2"/>
                </a:solidFill>
              </a:rPr>
              <a:t> </a:t>
            </a:r>
            <a:r>
              <a:rPr lang="de-DE" sz="4800" dirty="0" err="1" smtClean="0">
                <a:solidFill>
                  <a:schemeClr val="tx2"/>
                </a:solidFill>
              </a:rPr>
              <a:t>OpenStack</a:t>
            </a:r>
            <a:endParaRPr lang="de-DE" sz="4800" dirty="0" smtClean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 fullScrn="1"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773238"/>
            <a:ext cx="9144000" cy="1329595"/>
          </a:xfrm>
        </p:spPr>
        <p:txBody>
          <a:bodyPr/>
          <a:lstStyle/>
          <a:p>
            <a:pPr algn="ctr"/>
            <a: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  <a:t>Thank you for </a:t>
            </a:r>
            <a:b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  <a:t>your Attention !!</a:t>
            </a:r>
            <a:endParaRPr lang="de-DE" sz="4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983C3-0AE4-4ED5-A71B-CF1C3264DB82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8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226" name="think-cell Slide" r:id="rId4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358697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/>
              <a:t>Sources</a:t>
            </a:r>
            <a:endParaRPr lang="de-DE" sz="3200" dirty="0"/>
          </a:p>
        </p:txBody>
      </p:sp>
      <p:sp>
        <p:nvSpPr>
          <p:cNvPr id="5" name="Textfeld 4"/>
          <p:cNvSpPr txBox="1"/>
          <p:nvPr/>
        </p:nvSpPr>
        <p:spPr>
          <a:xfrm>
            <a:off x="3176" y="124893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pic>
        <p:nvPicPr>
          <p:cNvPr id="11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333955" y="1025293"/>
          <a:ext cx="8253454" cy="43718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40521-AC55-46B8-AD88-A70E7283CDA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745"/>
            <a:ext cx="9140486" cy="6857255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1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82638" y="784642"/>
          <a:ext cx="5578666" cy="529342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778471"/>
                <a:gridCol w="4800195"/>
              </a:tblGrid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Introduction</a:t>
                      </a: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  1.1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Who Are We?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405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  1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Workflo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2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TelekomCLOUD</a:t>
                      </a:r>
                      <a:r>
                        <a:rPr lang="de-DE" sz="2800" b="1" baseline="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 + OpenStack</a:t>
                      </a:r>
                      <a:endParaRPr lang="de-DE" sz="2800" b="1" dirty="0" smtClean="0">
                        <a:solidFill>
                          <a:schemeClr val="bg1"/>
                        </a:solidFill>
                        <a:latin typeface="Tele-GroteskNor" pitchFamily="2" charset="0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  2.1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Refcard Overvie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 2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Deploymen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3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penStack In Practice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 3.1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CI / CD in Gi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3.2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Video „Creating a </a:t>
                      </a:r>
                      <a:r>
                        <a:rPr lang="de-DE" sz="2200" kern="1200" dirty="0" err="1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tenant</a:t>
                      </a: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 with OpenStack“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4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Q &amp; A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57295"/>
          </a:xfrm>
        </p:spPr>
        <p:txBody>
          <a:bodyPr/>
          <a:lstStyle/>
          <a:p>
            <a:r>
              <a:rPr lang="de-DE" sz="4800" dirty="0" smtClean="0"/>
              <a:t>4.	Questions &amp; </a:t>
            </a:r>
            <a:br>
              <a:rPr lang="de-DE" sz="4800" dirty="0" smtClean="0"/>
            </a:br>
            <a:r>
              <a:rPr lang="de-DE" sz="4800" dirty="0" smtClean="0"/>
              <a:t>		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678647"/>
          </a:xfrm>
        </p:spPr>
        <p:txBody>
          <a:bodyPr/>
          <a:lstStyle/>
          <a:p>
            <a:r>
              <a:rPr lang="de-DE" sz="4800" dirty="0" smtClean="0"/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333375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1.1 Who</a:t>
            </a:r>
            <a:r>
              <a:rPr kumimoji="0" lang="de-DE" sz="32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are we? 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– Mento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m 15"/>
          <p:cNvGraphicFramePr/>
          <p:nvPr/>
        </p:nvGraphicFramePr>
        <p:xfrm>
          <a:off x="421059" y="1313971"/>
          <a:ext cx="5334283" cy="4195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63431" y="1436914"/>
            <a:ext cx="2617694" cy="39342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 – </a:t>
            </a:r>
            <a:r>
              <a:rPr lang="de-DE" sz="3200" dirty="0" err="1" smtClean="0"/>
              <a:t>Apprentic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54C9F-BC2D-41CA-8067-875A5E05D72A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12550" y="1051204"/>
            <a:ext cx="1980409" cy="24450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 – Student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6C24C-7DE7-4770-83FC-FC8981088158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800371" y="1079331"/>
            <a:ext cx="1824468" cy="243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 – </a:t>
            </a:r>
            <a:r>
              <a:rPr lang="de-DE" sz="3200" dirty="0" err="1" smtClean="0"/>
              <a:t>Apprentic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402A7-2164-491E-8253-2BFAC23EF71C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419795" y="1055140"/>
            <a:ext cx="2316951" cy="218752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2 Our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6747" y="4541732"/>
            <a:ext cx="4008773" cy="816314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Get an Overview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805586" y="3458938"/>
            <a:ext cx="4008773" cy="816314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oncep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 time management</a:t>
              </a: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2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44425" y="2376146"/>
            <a:ext cx="4008773" cy="816314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Documenta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3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83263" y="1293353"/>
            <a:ext cx="4008773" cy="816314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reate Refcard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4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27" name="Diagramm 26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Datumsplatzhalt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3C4E7-0BBE-41C6-9542-596885498EFA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31" name="Fußzeilenplatzhalter 3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 - J. Schäfer/O. Klippel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4" name="Diagramm 13"/>
          <p:cNvGraphicFramePr/>
          <p:nvPr/>
        </p:nvGraphicFramePr>
        <p:xfrm>
          <a:off x="959003" y="840058"/>
          <a:ext cx="7389543" cy="4750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6D52A-F28F-4E9B-954E-5002BFF7A1B4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2" name="Diagramm 11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455</Words>
  <Application>Microsoft Office PowerPoint</Application>
  <PresentationFormat>Bildschirmpräsentation (4:3)</PresentationFormat>
  <Paragraphs>327</Paragraphs>
  <Slides>20</Slides>
  <Notes>17</Notes>
  <HiddenSlides>0</HiddenSlides>
  <MMClips>1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1 Who Are We ? – Apprentice</vt:lpstr>
      <vt:lpstr>1.1 Who Are We ? – Student</vt:lpstr>
      <vt:lpstr>1.1 Who Are We ? – Apprentice</vt:lpstr>
      <vt:lpstr>1.2 Our Workflow – A. Perri</vt:lpstr>
      <vt:lpstr>1.2 Our Workflow - J. Schäfer/O. Klippel</vt:lpstr>
      <vt:lpstr>1.2 Our Workflow</vt:lpstr>
      <vt:lpstr>2. TelekomCloud +   OpenStack</vt:lpstr>
      <vt:lpstr>2.1 Refcard – Overview</vt:lpstr>
      <vt:lpstr>2.2 Our Deployment – Services We Use</vt:lpstr>
      <vt:lpstr>2.2 Our Deployment – Datacenter</vt:lpstr>
      <vt:lpstr>3. OpenStack in   Practice</vt:lpstr>
      <vt:lpstr>3.1 OPenStack in Practice – Ci/CD in Git </vt:lpstr>
      <vt:lpstr>Folie 17</vt:lpstr>
      <vt:lpstr>Thank you for  your Attention !!</vt:lpstr>
      <vt:lpstr>Sources</vt:lpstr>
      <vt:lpstr>4. Questions &amp;   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7015985</cp:lastModifiedBy>
  <cp:revision>724</cp:revision>
  <cp:lastPrinted>2012-09-04T09:22:48Z</cp:lastPrinted>
  <dcterms:created xsi:type="dcterms:W3CDTF">2016-04-21T06:54:03Z</dcterms:created>
  <dcterms:modified xsi:type="dcterms:W3CDTF">2016-09-20T13:3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